
<file path=[Content_Types].xml><?xml version="1.0" encoding="utf-8"?>
<Types xmlns="http://schemas.openxmlformats.org/package/2006/content-types">
  <Override PartName="/ppt/diagrams/drawing2.xml" ContentType="application/vnd.ms-office.drawingml.diagramDrawing+xml"/>
  <Override PartName="/ppt/slides/slide9.xml" ContentType="application/vnd.openxmlformats-officedocument.presentationml.slide+xml"/>
  <Override PartName="/ppt/diagrams/data2.xml" ContentType="application/vnd.openxmlformats-officedocument.drawingml.diagramData+xml"/>
  <Default Extension="emf" ContentType="image/x-emf"/>
  <Override PartName="/ppt/slideLayouts/slideLayout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s/slide5.xml" ContentType="application/vnd.openxmlformats-officedocument.presentationml.slide+xml"/>
  <Override PartName="/ppt/diagrams/colors1.xml" ContentType="application/vnd.openxmlformats-officedocument.drawingml.diagramColors+xml"/>
  <Default Extension="rels" ContentType="application/vnd.openxmlformats-package.relationships+xml"/>
  <Default Extension="jpeg" ContentType="image/jpeg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5.xml" ContentType="application/vnd.openxmlformats-officedocument.presentationml.slideLayout+xml"/>
  <Override PartName="/docProps/app.xml" ContentType="application/vnd.openxmlformats-officedocument.extended-properties+xml"/>
  <Override PartName="/ppt/theme/theme2.xml" ContentType="application/vnd.openxmlformats-officedocument.theme+xml"/>
  <Override PartName="/ppt/slideLayouts/slideLayout1.xml" ContentType="application/vnd.openxmlformats-officedocument.presentationml.slideLayout+xml"/>
  <Default Extension="xml" ContentType="application/xml"/>
  <Override PartName="/ppt/tableStyles.xml" ContentType="application/vnd.openxmlformats-officedocument.presentationml.tableStyles+xml"/>
  <Override PartName="/ppt/notesSlides/notesSlide1.xml" ContentType="application/vnd.openxmlformats-officedocument.presentationml.notesSlide+xml"/>
  <Override PartName="/ppt/slideLayouts/slideLayout12.xml" ContentType="application/vnd.openxmlformats-officedocument.presentationml.slideLayout+xml"/>
  <Override PartName="/ppt/slides/slide6.xml" ContentType="application/vnd.openxmlformats-officedocument.presentationml.slide+xml"/>
  <Override PartName="/ppt/embeddings/oleObject1.bin" ContentType="application/vnd.openxmlformats-officedocument.oleObject"/>
  <Override PartName="/ppt/diagrams/colors2.xml" ContentType="application/vnd.openxmlformats-officedocument.drawingml.diagramColors+xml"/>
  <Override PartName="/docProps/core.xml" ContentType="application/vnd.openxmlformats-package.core-properties+xml"/>
  <Override PartName="/ppt/slides/slide11.xml" ContentType="application/vnd.openxmlformats-officedocument.presentationml.slide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s/slide2.xml" ContentType="application/vnd.openxmlformats-officedocument.presentationml.slide+xml"/>
  <Default Extension="png" ContentType="image/png"/>
  <Override PartName="/ppt/diagrams/quickStyle1.xml" ContentType="application/vnd.openxmlformats-officedocument.drawingml.diagramStyle+xml"/>
  <Override PartName="/ppt/slideLayouts/slideLayout2.xml" ContentType="application/vnd.openxmlformats-officedocument.presentationml.slideLayout+xml"/>
  <Override PartName="/ppt/diagrams/layout1.xml" ContentType="application/vnd.openxmlformats-officedocument.drawingml.diagramLayout+xml"/>
  <Override PartName="/ppt/slideLayouts/slideLayout13.xml" ContentType="application/vnd.openxmlformats-officedocument.presentationml.slideLayout+xml"/>
  <Override PartName="/ppt/notesSlides/notesSlide2.xml" ContentType="application/vnd.openxmlformats-officedocument.presentationml.notesSlide+xml"/>
  <Override PartName="/ppt/slides/slide7.xml" ContentType="application/vnd.openxmlformats-officedocument.presentationml.slide+xml"/>
  <Override PartName="/ppt/presentation.xml" ContentType="application/vnd.openxmlformats-officedocument.presentationml.presentation.main+xml"/>
  <Default Extension="vml" ContentType="application/vnd.openxmlformats-officedocument.vmlDrawing"/>
  <Override PartName="/ppt/slideLayouts/slideLayout7.xml" ContentType="application/vnd.openxmlformats-officedocument.presentationml.slideLayout+xml"/>
  <Override PartName="/ppt/tags/tag3.xml" ContentType="application/vnd.openxmlformats-officedocument.presentationml.tags+xml"/>
  <Override PartName="/ppt/slides/slide3.xml" ContentType="application/vnd.openxmlformats-officedocument.presentationml.slide+xml"/>
  <Override PartName="/ppt/diagrams/layout2.xml" ContentType="application/vnd.openxmlformats-officedocument.drawingml.diagramLayout+xml"/>
  <Override PartName="/ppt/slideLayouts/slideLayout3.xml" ContentType="application/vnd.openxmlformats-officedocument.presentationml.slideLayout+xml"/>
  <Override PartName="/ppt/diagrams/quickStyle2.xml" ContentType="application/vnd.openxmlformats-officedocument.drawingml.diagramStyle+xml"/>
  <Override PartName="/ppt/diagrams/drawing1.xml" ContentType="application/vnd.ms-office.drawingml.diagramDrawing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presProps.xml" ContentType="application/vnd.openxmlformats-officedocument.presentationml.presProps+xml"/>
  <Override PartName="/ppt/slideLayouts/slideLayout8.xml" ContentType="application/vnd.openxmlformats-officedocument.presentationml.slideLayout+xml"/>
  <Override PartName="/ppt/tags/tag4.xml" ContentType="application/vnd.openxmlformats-officedocument.presentationml.tags+xml"/>
  <Override PartName="/ppt/slideLayouts/slideLayout10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heme/themeOverride1.xml" ContentType="application/vnd.openxmlformats-officedocument.themeOverride+xml"/>
  <Override PartName="/ppt/viewProps.xml" ContentType="application/vnd.openxmlformats-officedocument.presentationml.viewProps+xml"/>
  <Default Extension="bin" ContentType="application/vnd.openxmlformats-officedocument.presentationml.printerSettings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aveSubsetFonts="1">
  <p:sldMasterIdLst>
    <p:sldMasterId id="2147483648" r:id="rId1"/>
  </p:sldMasterIdLst>
  <p:notesMasterIdLst>
    <p:notesMasterId r:id="rId13"/>
  </p:notesMasterIdLst>
  <p:sldIdLst>
    <p:sldId id="344" r:id="rId2"/>
    <p:sldId id="350" r:id="rId3"/>
    <p:sldId id="389" r:id="rId4"/>
    <p:sldId id="390" r:id="rId5"/>
    <p:sldId id="363" r:id="rId6"/>
    <p:sldId id="362" r:id="rId7"/>
    <p:sldId id="364" r:id="rId8"/>
    <p:sldId id="365" r:id="rId9"/>
    <p:sldId id="391" r:id="rId10"/>
    <p:sldId id="392" r:id="rId11"/>
    <p:sldId id="393" r:id="rId12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extLst>
    <p:ext uri="{E76CE94A-603C-4142-B9EB-6D1370010A27}">
      <p14:discardImageEditData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0"/>
    </p:ext>
    <p:ext uri="{D31A062A-798A-4329-ABDD-BBA856620510}">
      <p14:defaultImageDpi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normalViewPr>
    <p:restoredLeft sz="15588" autoAdjust="0"/>
    <p:restoredTop sz="98224" autoAdjust="0"/>
  </p:normalViewPr>
  <p:slideViewPr>
    <p:cSldViewPr>
      <p:cViewPr>
        <p:scale>
          <a:sx n="80" d="100"/>
          <a:sy n="80" d="100"/>
        </p:scale>
        <p:origin x="-2240" y="-92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notesMaster" Target="notesMasters/notesMaster1.xml"/><Relationship Id="rId14" Type="http://schemas.openxmlformats.org/officeDocument/2006/relationships/printerSettings" Target="printerSettings/printerSettings1.bin"/><Relationship Id="rId15" Type="http://schemas.openxmlformats.org/officeDocument/2006/relationships/presProps" Target="presProps.xml"/><Relationship Id="rId16" Type="http://schemas.openxmlformats.org/officeDocument/2006/relationships/viewProps" Target="viewProps.xml"/><Relationship Id="rId17" Type="http://schemas.openxmlformats.org/officeDocument/2006/relationships/theme" Target="theme/theme1.xml"/><Relationship Id="rId1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#5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26E1133-27F8-42A1-91FE-23383B9ACC99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3BDC9E6-B3ED-4E11-B81F-A36F96CA06AD}">
      <dgm:prSet custT="1"/>
      <dgm:spPr/>
      <dgm:t>
        <a:bodyPr/>
        <a:lstStyle/>
        <a:p>
          <a:pPr rtl="0"/>
          <a:r>
            <a:rPr lang="en-US" sz="2000" dirty="0" err="1" smtClean="0"/>
            <a:t>Modifiabilty</a:t>
          </a:r>
          <a:endParaRPr lang="en-US" sz="2000" dirty="0"/>
        </a:p>
      </dgm:t>
    </dgm:pt>
    <dgm:pt modelId="{818B4425-229C-4D05-BD73-F2583AB7B9C5}" type="parTrans" cxnId="{E040E2E2-F016-4F82-9927-EA3D62DA0F57}">
      <dgm:prSet/>
      <dgm:spPr/>
      <dgm:t>
        <a:bodyPr/>
        <a:lstStyle/>
        <a:p>
          <a:endParaRPr lang="en-US" sz="3200"/>
        </a:p>
      </dgm:t>
    </dgm:pt>
    <dgm:pt modelId="{A3D2AA9D-1D2C-45CA-9A99-0FD9E343747F}" type="sibTrans" cxnId="{E040E2E2-F016-4F82-9927-EA3D62DA0F57}">
      <dgm:prSet/>
      <dgm:spPr/>
      <dgm:t>
        <a:bodyPr/>
        <a:lstStyle/>
        <a:p>
          <a:endParaRPr lang="en-US" sz="3200"/>
        </a:p>
      </dgm:t>
    </dgm:pt>
    <dgm:pt modelId="{843E3B21-DC9F-4CF8-A7F1-93BF704E47A7}">
      <dgm:prSet custT="1"/>
      <dgm:spPr/>
      <dgm:t>
        <a:bodyPr/>
        <a:lstStyle/>
        <a:p>
          <a:pPr rtl="0"/>
          <a:r>
            <a:rPr lang="en-US" sz="1400" dirty="0" smtClean="0"/>
            <a:t>Increase Cohesion</a:t>
          </a:r>
          <a:endParaRPr lang="en-US" sz="1400" dirty="0"/>
        </a:p>
      </dgm:t>
    </dgm:pt>
    <dgm:pt modelId="{3EEFE082-C4FA-499A-BA01-E4B8217A4B73}" type="parTrans" cxnId="{3C110BFF-FD87-473E-9985-0D9D761E60BD}">
      <dgm:prSet/>
      <dgm:spPr/>
      <dgm:t>
        <a:bodyPr/>
        <a:lstStyle/>
        <a:p>
          <a:endParaRPr lang="en-US" sz="3200"/>
        </a:p>
      </dgm:t>
    </dgm:pt>
    <dgm:pt modelId="{2992CB8F-FBF4-486F-BE86-7AEC96D28238}" type="sibTrans" cxnId="{3C110BFF-FD87-473E-9985-0D9D761E60BD}">
      <dgm:prSet/>
      <dgm:spPr/>
      <dgm:t>
        <a:bodyPr/>
        <a:lstStyle/>
        <a:p>
          <a:endParaRPr lang="en-US" sz="3200"/>
        </a:p>
      </dgm:t>
    </dgm:pt>
    <dgm:pt modelId="{A240A1E1-162D-4A6E-A806-B6FF45B3AB68}">
      <dgm:prSet custT="1"/>
      <dgm:spPr/>
      <dgm:t>
        <a:bodyPr/>
        <a:lstStyle/>
        <a:p>
          <a:pPr rtl="0"/>
          <a:r>
            <a:rPr lang="en-US" sz="1400" dirty="0" smtClean="0"/>
            <a:t>Runtime registration</a:t>
          </a:r>
          <a:endParaRPr lang="en-US" sz="1400" dirty="0"/>
        </a:p>
      </dgm:t>
    </dgm:pt>
    <dgm:pt modelId="{F0BD47AB-7AC9-40A2-A96D-1A911EFDE7FF}" type="parTrans" cxnId="{CCB5AE26-70F4-4C5B-B53D-136E39A12AC5}">
      <dgm:prSet/>
      <dgm:spPr/>
      <dgm:t>
        <a:bodyPr/>
        <a:lstStyle/>
        <a:p>
          <a:endParaRPr lang="en-US" sz="3200"/>
        </a:p>
      </dgm:t>
    </dgm:pt>
    <dgm:pt modelId="{A12D77FB-8453-4F78-A007-65AD68966259}" type="sibTrans" cxnId="{CCB5AE26-70F4-4C5B-B53D-136E39A12AC5}">
      <dgm:prSet/>
      <dgm:spPr/>
      <dgm:t>
        <a:bodyPr/>
        <a:lstStyle/>
        <a:p>
          <a:endParaRPr lang="en-US" sz="3200"/>
        </a:p>
      </dgm:t>
    </dgm:pt>
    <dgm:pt modelId="{E420C67E-C4C2-476B-9B47-FFB47D587009}">
      <dgm:prSet custT="1"/>
      <dgm:spPr/>
      <dgm:t>
        <a:bodyPr/>
        <a:lstStyle/>
        <a:p>
          <a:pPr rtl="0"/>
          <a:r>
            <a:rPr lang="en-US" sz="1400" dirty="0" smtClean="0"/>
            <a:t>Reduce Coupling</a:t>
          </a:r>
          <a:endParaRPr lang="en-US" sz="1400" dirty="0"/>
        </a:p>
      </dgm:t>
    </dgm:pt>
    <dgm:pt modelId="{65D088B7-B36E-49AA-84B9-2BC51B326EA1}" type="parTrans" cxnId="{2AC6A1A2-FDAF-4C07-BF93-78DC05214544}">
      <dgm:prSet/>
      <dgm:spPr/>
      <dgm:t>
        <a:bodyPr/>
        <a:lstStyle/>
        <a:p>
          <a:endParaRPr lang="en-US" sz="3200"/>
        </a:p>
      </dgm:t>
    </dgm:pt>
    <dgm:pt modelId="{7CC715FB-928E-4CFE-A8F5-045F16B2D743}" type="sibTrans" cxnId="{2AC6A1A2-FDAF-4C07-BF93-78DC05214544}">
      <dgm:prSet/>
      <dgm:spPr/>
      <dgm:t>
        <a:bodyPr/>
        <a:lstStyle/>
        <a:p>
          <a:endParaRPr lang="en-US" sz="3200"/>
        </a:p>
      </dgm:t>
    </dgm:pt>
    <dgm:pt modelId="{1CE2D78B-C788-472A-8424-7F9A4AB5205E}">
      <dgm:prSet custT="1"/>
      <dgm:spPr/>
      <dgm:t>
        <a:bodyPr/>
        <a:lstStyle/>
        <a:p>
          <a:pPr rtl="0"/>
          <a:r>
            <a:rPr lang="en-US" sz="1400" dirty="0" smtClean="0"/>
            <a:t>Defer binding</a:t>
          </a:r>
          <a:endParaRPr lang="en-US" sz="1400" dirty="0"/>
        </a:p>
      </dgm:t>
    </dgm:pt>
    <dgm:pt modelId="{6ED4E1AA-EFDD-4E70-836E-3DB36084DE98}" type="parTrans" cxnId="{0D252A7C-EA88-478B-9AB7-96B65AE1E68A}">
      <dgm:prSet/>
      <dgm:spPr/>
      <dgm:t>
        <a:bodyPr/>
        <a:lstStyle/>
        <a:p>
          <a:endParaRPr lang="en-US" sz="3200"/>
        </a:p>
      </dgm:t>
    </dgm:pt>
    <dgm:pt modelId="{1D0F051B-C9A8-457A-BE08-985EF4C28172}" type="sibTrans" cxnId="{0D252A7C-EA88-478B-9AB7-96B65AE1E68A}">
      <dgm:prSet/>
      <dgm:spPr/>
      <dgm:t>
        <a:bodyPr/>
        <a:lstStyle/>
        <a:p>
          <a:endParaRPr lang="en-US" sz="3200"/>
        </a:p>
      </dgm:t>
    </dgm:pt>
    <dgm:pt modelId="{35016019-1F0E-47A9-A9CB-AE98C0AFCFC1}">
      <dgm:prSet custT="1"/>
      <dgm:spPr/>
      <dgm:t>
        <a:bodyPr/>
        <a:lstStyle/>
        <a:p>
          <a:pPr rtl="0"/>
          <a:r>
            <a:rPr lang="en-US" sz="1400" dirty="0" smtClean="0"/>
            <a:t>Configuration files</a:t>
          </a:r>
          <a:endParaRPr lang="en-US" sz="1400" dirty="0"/>
        </a:p>
      </dgm:t>
    </dgm:pt>
    <dgm:pt modelId="{A60BCA66-49BB-4275-9110-8B471B3FC59B}" type="parTrans" cxnId="{F0C0AED6-3BFB-430A-84C4-C1842ECA49F1}">
      <dgm:prSet/>
      <dgm:spPr/>
      <dgm:t>
        <a:bodyPr/>
        <a:lstStyle/>
        <a:p>
          <a:endParaRPr lang="en-US" sz="3200"/>
        </a:p>
      </dgm:t>
    </dgm:pt>
    <dgm:pt modelId="{549EC933-326F-43C6-A4AD-B0C6604A5CF9}" type="sibTrans" cxnId="{F0C0AED6-3BFB-430A-84C4-C1842ECA49F1}">
      <dgm:prSet/>
      <dgm:spPr/>
      <dgm:t>
        <a:bodyPr/>
        <a:lstStyle/>
        <a:p>
          <a:endParaRPr lang="en-US" sz="3200"/>
        </a:p>
      </dgm:t>
    </dgm:pt>
    <dgm:pt modelId="{49742260-F14F-4BCB-8D88-ADD2EB5024EC}">
      <dgm:prSet custT="1"/>
      <dgm:spPr/>
      <dgm:t>
        <a:bodyPr/>
        <a:lstStyle/>
        <a:p>
          <a:pPr rtl="0"/>
          <a:r>
            <a:rPr lang="en-US" sz="1400" dirty="0" smtClean="0"/>
            <a:t>Polymorphism</a:t>
          </a:r>
          <a:endParaRPr lang="en-US" sz="1400" dirty="0"/>
        </a:p>
      </dgm:t>
    </dgm:pt>
    <dgm:pt modelId="{9275B05E-F520-4192-9B33-84AEEBC3F62D}" type="parTrans" cxnId="{A0E66910-A417-4433-846A-E364FADC3533}">
      <dgm:prSet/>
      <dgm:spPr/>
      <dgm:t>
        <a:bodyPr/>
        <a:lstStyle/>
        <a:p>
          <a:endParaRPr lang="en-US" sz="3200"/>
        </a:p>
      </dgm:t>
    </dgm:pt>
    <dgm:pt modelId="{BDB94797-518D-4543-8D6F-13596FEC7A22}" type="sibTrans" cxnId="{A0E66910-A417-4433-846A-E364FADC3533}">
      <dgm:prSet/>
      <dgm:spPr/>
      <dgm:t>
        <a:bodyPr/>
        <a:lstStyle/>
        <a:p>
          <a:endParaRPr lang="en-US" sz="3200"/>
        </a:p>
      </dgm:t>
    </dgm:pt>
    <dgm:pt modelId="{0216D3CF-84E5-4443-8082-6C6C297E9A4D}">
      <dgm:prSet custT="1"/>
      <dgm:spPr/>
      <dgm:t>
        <a:bodyPr/>
        <a:lstStyle/>
        <a:p>
          <a:pPr rtl="0"/>
          <a:r>
            <a:rPr lang="en-US" sz="1400" dirty="0" smtClean="0"/>
            <a:t>Hide Information</a:t>
          </a:r>
          <a:endParaRPr lang="en-US" sz="1400" dirty="0"/>
        </a:p>
      </dgm:t>
    </dgm:pt>
    <dgm:pt modelId="{C3334397-F4C9-43FD-9DE7-786437A51BF8}" type="parTrans" cxnId="{EF17C288-FABF-470A-9F6E-6F1AC60C08BE}">
      <dgm:prSet/>
      <dgm:spPr/>
      <dgm:t>
        <a:bodyPr/>
        <a:lstStyle/>
        <a:p>
          <a:endParaRPr lang="en-US" sz="3200"/>
        </a:p>
      </dgm:t>
    </dgm:pt>
    <dgm:pt modelId="{9C27E3D0-AEBB-4C4C-AFEA-8F9AF608B21E}" type="sibTrans" cxnId="{EF17C288-FABF-470A-9F6E-6F1AC60C08BE}">
      <dgm:prSet/>
      <dgm:spPr/>
      <dgm:t>
        <a:bodyPr/>
        <a:lstStyle/>
        <a:p>
          <a:endParaRPr lang="en-US" sz="3200"/>
        </a:p>
      </dgm:t>
    </dgm:pt>
    <dgm:pt modelId="{90833815-F732-45AF-B735-7A208BE16A8A}">
      <dgm:prSet custT="1"/>
      <dgm:spPr/>
      <dgm:t>
        <a:bodyPr/>
        <a:lstStyle/>
        <a:p>
          <a:pPr rtl="0"/>
          <a:r>
            <a:rPr lang="en-US" sz="1400" dirty="0" smtClean="0"/>
            <a:t>Maintain Existing Interface</a:t>
          </a:r>
          <a:endParaRPr lang="en-US" sz="1400" dirty="0"/>
        </a:p>
      </dgm:t>
    </dgm:pt>
    <dgm:pt modelId="{62301F5E-BDD5-4369-B9CF-5999FECA1C85}" type="parTrans" cxnId="{A630084D-67F8-48A7-9951-F46F3604D1B4}">
      <dgm:prSet/>
      <dgm:spPr/>
      <dgm:t>
        <a:bodyPr/>
        <a:lstStyle/>
        <a:p>
          <a:endParaRPr lang="en-US" sz="3200"/>
        </a:p>
      </dgm:t>
    </dgm:pt>
    <dgm:pt modelId="{7A88FAF5-FAAB-4848-B347-2B42AF8023FF}" type="sibTrans" cxnId="{A630084D-67F8-48A7-9951-F46F3604D1B4}">
      <dgm:prSet/>
      <dgm:spPr/>
      <dgm:t>
        <a:bodyPr/>
        <a:lstStyle/>
        <a:p>
          <a:endParaRPr lang="en-US" sz="3200"/>
        </a:p>
      </dgm:t>
    </dgm:pt>
    <dgm:pt modelId="{2F6572D1-3E4E-41CC-B816-15F6AA753750}">
      <dgm:prSet custT="1"/>
      <dgm:spPr/>
      <dgm:t>
        <a:bodyPr/>
        <a:lstStyle/>
        <a:p>
          <a:pPr rtl="0"/>
          <a:r>
            <a:rPr lang="en-US" sz="1400" dirty="0" smtClean="0"/>
            <a:t>Restrict Communication Paths and dependencies</a:t>
          </a:r>
          <a:endParaRPr lang="en-US" sz="1400" dirty="0"/>
        </a:p>
      </dgm:t>
    </dgm:pt>
    <dgm:pt modelId="{453F9760-1876-428B-8CB6-DA8F60516D89}" type="parTrans" cxnId="{06E71150-3811-4FC5-8858-0203DD6C998E}">
      <dgm:prSet/>
      <dgm:spPr/>
      <dgm:t>
        <a:bodyPr/>
        <a:lstStyle/>
        <a:p>
          <a:endParaRPr lang="en-US" sz="3200"/>
        </a:p>
      </dgm:t>
    </dgm:pt>
    <dgm:pt modelId="{F36BC338-6ADD-4D27-8F50-A2943AF092AF}" type="sibTrans" cxnId="{06E71150-3811-4FC5-8858-0203DD6C998E}">
      <dgm:prSet/>
      <dgm:spPr/>
      <dgm:t>
        <a:bodyPr/>
        <a:lstStyle/>
        <a:p>
          <a:endParaRPr lang="en-US" sz="3200"/>
        </a:p>
      </dgm:t>
    </dgm:pt>
    <dgm:pt modelId="{CFEBB133-5D80-4E9D-815E-BA7E2B5804D2}">
      <dgm:prSet custT="1"/>
      <dgm:spPr/>
      <dgm:t>
        <a:bodyPr/>
        <a:lstStyle/>
        <a:p>
          <a:pPr rtl="0"/>
          <a:r>
            <a:rPr lang="en-US" sz="1400" dirty="0" smtClean="0"/>
            <a:t>Use intermediary between modules</a:t>
          </a:r>
          <a:endParaRPr lang="en-US" sz="1400" dirty="0"/>
        </a:p>
      </dgm:t>
    </dgm:pt>
    <dgm:pt modelId="{6C5C9B86-7AAA-465B-98FF-E3F38189A3AE}" type="parTrans" cxnId="{7E8A394C-0B32-41E9-BC7B-038412EB61D4}">
      <dgm:prSet/>
      <dgm:spPr/>
      <dgm:t>
        <a:bodyPr/>
        <a:lstStyle/>
        <a:p>
          <a:endParaRPr lang="en-US" sz="3200"/>
        </a:p>
      </dgm:t>
    </dgm:pt>
    <dgm:pt modelId="{7FDECB7D-540F-4AC8-A911-0EDE43878630}" type="sibTrans" cxnId="{7E8A394C-0B32-41E9-BC7B-038412EB61D4}">
      <dgm:prSet/>
      <dgm:spPr/>
      <dgm:t>
        <a:bodyPr/>
        <a:lstStyle/>
        <a:p>
          <a:endParaRPr lang="en-US" sz="3200"/>
        </a:p>
      </dgm:t>
    </dgm:pt>
    <dgm:pt modelId="{720AE7B9-47AD-4FF9-8447-DF1B8C5FD193}">
      <dgm:prSet custT="1"/>
      <dgm:spPr/>
      <dgm:t>
        <a:bodyPr/>
        <a:lstStyle/>
        <a:p>
          <a:pPr rtl="0"/>
          <a:r>
            <a:rPr lang="en-US" sz="1400" dirty="0" smtClean="0"/>
            <a:t>Factoring common service</a:t>
          </a:r>
          <a:endParaRPr lang="en-US" sz="1400" dirty="0"/>
        </a:p>
      </dgm:t>
    </dgm:pt>
    <dgm:pt modelId="{3722DDF4-26E2-4422-A516-DEEAC3ECF65B}" type="parTrans" cxnId="{C7B12242-93F1-42B1-8149-73B2BE7E9DC0}">
      <dgm:prSet/>
      <dgm:spPr/>
      <dgm:t>
        <a:bodyPr/>
        <a:lstStyle/>
        <a:p>
          <a:endParaRPr lang="en-US" sz="3200"/>
        </a:p>
      </dgm:t>
    </dgm:pt>
    <dgm:pt modelId="{D7F902F3-F976-415B-98C3-59057320C539}" type="sibTrans" cxnId="{C7B12242-93F1-42B1-8149-73B2BE7E9DC0}">
      <dgm:prSet/>
      <dgm:spPr/>
      <dgm:t>
        <a:bodyPr/>
        <a:lstStyle/>
        <a:p>
          <a:endParaRPr lang="en-US" sz="3200"/>
        </a:p>
      </dgm:t>
    </dgm:pt>
    <dgm:pt modelId="{7D7C3FA2-CE75-4B7D-A218-416906B8D917}">
      <dgm:prSet custT="1"/>
      <dgm:spPr/>
      <dgm:t>
        <a:bodyPr/>
        <a:lstStyle/>
        <a:p>
          <a:pPr rtl="0"/>
          <a:r>
            <a:rPr lang="en-US" sz="1400" dirty="0" smtClean="0"/>
            <a:t>Anticipate change</a:t>
          </a:r>
          <a:endParaRPr lang="en-US" sz="1400" dirty="0"/>
        </a:p>
      </dgm:t>
    </dgm:pt>
    <dgm:pt modelId="{14236E25-24F5-4DBC-8E23-FED5A30DEF0E}" type="parTrans" cxnId="{2648CEB6-4DB9-42A6-B700-4831395E15AC}">
      <dgm:prSet/>
      <dgm:spPr/>
      <dgm:t>
        <a:bodyPr/>
        <a:lstStyle/>
        <a:p>
          <a:endParaRPr lang="en-US" sz="3200"/>
        </a:p>
      </dgm:t>
    </dgm:pt>
    <dgm:pt modelId="{FB40D391-DB77-4C2C-BDCE-7A207CEAE6FE}" type="sibTrans" cxnId="{2648CEB6-4DB9-42A6-B700-4831395E15AC}">
      <dgm:prSet/>
      <dgm:spPr/>
      <dgm:t>
        <a:bodyPr/>
        <a:lstStyle/>
        <a:p>
          <a:endParaRPr lang="en-US" sz="3200"/>
        </a:p>
      </dgm:t>
    </dgm:pt>
    <dgm:pt modelId="{9B931718-FC68-4B2E-9854-492BCFE6FE83}">
      <dgm:prSet custT="1"/>
      <dgm:spPr/>
      <dgm:t>
        <a:bodyPr/>
        <a:lstStyle/>
        <a:p>
          <a:pPr rtl="0"/>
          <a:r>
            <a:rPr lang="en-US" sz="1400" dirty="0" smtClean="0"/>
            <a:t>Generalize module</a:t>
          </a:r>
          <a:endParaRPr lang="en-US" sz="1400" dirty="0"/>
        </a:p>
      </dgm:t>
    </dgm:pt>
    <dgm:pt modelId="{359E2506-5D19-4F9C-8688-C666576175A9}" type="parTrans" cxnId="{6E2E3B55-A6EB-46D7-B7D0-04629FD4C800}">
      <dgm:prSet/>
      <dgm:spPr/>
      <dgm:t>
        <a:bodyPr/>
        <a:lstStyle/>
        <a:p>
          <a:endParaRPr lang="en-US" sz="3200"/>
        </a:p>
      </dgm:t>
    </dgm:pt>
    <dgm:pt modelId="{3113A228-1208-4305-91A0-AEEDFF54B5B2}" type="sibTrans" cxnId="{6E2E3B55-A6EB-46D7-B7D0-04629FD4C800}">
      <dgm:prSet/>
      <dgm:spPr/>
      <dgm:t>
        <a:bodyPr/>
        <a:lstStyle/>
        <a:p>
          <a:endParaRPr lang="en-US" sz="3200"/>
        </a:p>
      </dgm:t>
    </dgm:pt>
    <dgm:pt modelId="{E137C9BD-EE5B-476B-B7BA-BA0D9370FCFA}">
      <dgm:prSet custT="1"/>
      <dgm:spPr/>
      <dgm:t>
        <a:bodyPr/>
        <a:lstStyle/>
        <a:p>
          <a:pPr rtl="0"/>
          <a:r>
            <a:rPr lang="en-US" sz="1400" dirty="0" smtClean="0"/>
            <a:t>Limit possible options</a:t>
          </a:r>
          <a:endParaRPr lang="en-US" sz="1400" dirty="0"/>
        </a:p>
      </dgm:t>
    </dgm:pt>
    <dgm:pt modelId="{55D0A0DD-88B0-4C7C-A785-02AC2DD8AEFB}" type="parTrans" cxnId="{93C18DCF-6401-4C24-8BE2-77B239018EAB}">
      <dgm:prSet/>
      <dgm:spPr/>
      <dgm:t>
        <a:bodyPr/>
        <a:lstStyle/>
        <a:p>
          <a:endParaRPr lang="en-US" sz="3200"/>
        </a:p>
      </dgm:t>
    </dgm:pt>
    <dgm:pt modelId="{BCD31398-9148-4314-98D5-83D75352DBF9}" type="sibTrans" cxnId="{93C18DCF-6401-4C24-8BE2-77B239018EAB}">
      <dgm:prSet/>
      <dgm:spPr/>
      <dgm:t>
        <a:bodyPr/>
        <a:lstStyle/>
        <a:p>
          <a:endParaRPr lang="en-US" sz="3200"/>
        </a:p>
      </dgm:t>
    </dgm:pt>
    <dgm:pt modelId="{73A0098F-31D8-453C-84FD-0E0CD7A87527}">
      <dgm:prSet custT="1"/>
      <dgm:spPr/>
      <dgm:t>
        <a:bodyPr/>
        <a:lstStyle/>
        <a:p>
          <a:pPr rtl="0"/>
          <a:r>
            <a:rPr lang="en-US" sz="1400" dirty="0" smtClean="0"/>
            <a:t>Dynamic lookup</a:t>
          </a:r>
          <a:endParaRPr lang="en-US" sz="1400" dirty="0"/>
        </a:p>
      </dgm:t>
    </dgm:pt>
    <dgm:pt modelId="{5393009C-F2AE-4FEB-A060-2EF8CA0E315B}" type="parTrans" cxnId="{823C3DDD-4778-4A47-9CCF-05D1CAF70033}">
      <dgm:prSet/>
      <dgm:spPr/>
      <dgm:t>
        <a:bodyPr/>
        <a:lstStyle/>
        <a:p>
          <a:endParaRPr lang="en-US" sz="3200"/>
        </a:p>
      </dgm:t>
    </dgm:pt>
    <dgm:pt modelId="{16A80FE0-982B-4270-9C2E-D28AA7AD0DDC}" type="sibTrans" cxnId="{823C3DDD-4778-4A47-9CCF-05D1CAF70033}">
      <dgm:prSet/>
      <dgm:spPr/>
      <dgm:t>
        <a:bodyPr/>
        <a:lstStyle/>
        <a:p>
          <a:endParaRPr lang="en-US" sz="3200"/>
        </a:p>
      </dgm:t>
    </dgm:pt>
    <dgm:pt modelId="{5DB6D400-5209-470C-8913-531D6E5768B4}">
      <dgm:prSet custT="1"/>
      <dgm:spPr/>
      <dgm:t>
        <a:bodyPr/>
        <a:lstStyle/>
        <a:p>
          <a:pPr rtl="0"/>
          <a:r>
            <a:rPr lang="en-US" sz="1400" dirty="0" smtClean="0"/>
            <a:t>Compile time</a:t>
          </a:r>
          <a:endParaRPr lang="en-US" sz="1400" dirty="0"/>
        </a:p>
      </dgm:t>
    </dgm:pt>
    <dgm:pt modelId="{AD802413-175C-4187-B88C-5583163E329C}" type="parTrans" cxnId="{85A1D228-7017-4523-BEF1-E9656F25C368}">
      <dgm:prSet/>
      <dgm:spPr/>
      <dgm:t>
        <a:bodyPr/>
        <a:lstStyle/>
        <a:p>
          <a:endParaRPr lang="en-US" sz="3200"/>
        </a:p>
      </dgm:t>
    </dgm:pt>
    <dgm:pt modelId="{AC3A72FE-B759-4DD8-A6DF-0B8F12118B8F}" type="sibTrans" cxnId="{85A1D228-7017-4523-BEF1-E9656F25C368}">
      <dgm:prSet/>
      <dgm:spPr/>
      <dgm:t>
        <a:bodyPr/>
        <a:lstStyle/>
        <a:p>
          <a:endParaRPr lang="en-US" sz="3200"/>
        </a:p>
      </dgm:t>
    </dgm:pt>
    <dgm:pt modelId="{7377930C-9048-4C75-A996-4B972DEB240F}">
      <dgm:prSet custT="1"/>
      <dgm:spPr/>
      <dgm:t>
        <a:bodyPr/>
        <a:lstStyle/>
        <a:p>
          <a:pPr rtl="0"/>
          <a:r>
            <a:rPr lang="en-US" sz="1400" dirty="0" smtClean="0"/>
            <a:t>Runtime</a:t>
          </a:r>
          <a:endParaRPr lang="en-US" sz="1400" dirty="0"/>
        </a:p>
      </dgm:t>
    </dgm:pt>
    <dgm:pt modelId="{D5C97393-61F4-42DF-B08C-C853AA352A39}" type="parTrans" cxnId="{191CE8A5-65E2-4737-B59B-E338866816AF}">
      <dgm:prSet/>
      <dgm:spPr/>
      <dgm:t>
        <a:bodyPr/>
        <a:lstStyle/>
        <a:p>
          <a:endParaRPr lang="en-US" sz="3200"/>
        </a:p>
      </dgm:t>
    </dgm:pt>
    <dgm:pt modelId="{CB07FCF4-3F4B-4710-B520-281079B11827}" type="sibTrans" cxnId="{191CE8A5-65E2-4737-B59B-E338866816AF}">
      <dgm:prSet/>
      <dgm:spPr/>
      <dgm:t>
        <a:bodyPr/>
        <a:lstStyle/>
        <a:p>
          <a:endParaRPr lang="en-US" sz="3200"/>
        </a:p>
      </dgm:t>
    </dgm:pt>
    <dgm:pt modelId="{AC89BCD7-10FF-48F4-86B9-8B80EB092E96}">
      <dgm:prSet custT="1"/>
      <dgm:spPr/>
      <dgm:t>
        <a:bodyPr/>
        <a:lstStyle/>
        <a:p>
          <a:pPr rtl="0"/>
          <a:r>
            <a:rPr lang="en-US" sz="1400" smtClean="0"/>
            <a:t>Component replacement</a:t>
          </a:r>
          <a:endParaRPr lang="en-US" sz="1400" dirty="0"/>
        </a:p>
      </dgm:t>
    </dgm:pt>
    <dgm:pt modelId="{36E557AF-1BC6-4838-B248-65E3AC06CD76}" type="parTrans" cxnId="{E66B67A0-2EEC-4775-9F73-342629235234}">
      <dgm:prSet/>
      <dgm:spPr/>
      <dgm:t>
        <a:bodyPr/>
        <a:lstStyle/>
        <a:p>
          <a:endParaRPr lang="en-US" sz="3200"/>
        </a:p>
      </dgm:t>
    </dgm:pt>
    <dgm:pt modelId="{1BE82171-A4CE-414A-8788-DAA9DF165BB9}" type="sibTrans" cxnId="{E66B67A0-2EEC-4775-9F73-342629235234}">
      <dgm:prSet/>
      <dgm:spPr/>
      <dgm:t>
        <a:bodyPr/>
        <a:lstStyle/>
        <a:p>
          <a:endParaRPr lang="en-US" sz="3200"/>
        </a:p>
      </dgm:t>
    </dgm:pt>
    <dgm:pt modelId="{93812BF0-8AD5-4A0C-BFE2-912B50E287D9}">
      <dgm:prSet custT="1"/>
      <dgm:spPr/>
      <dgm:t>
        <a:bodyPr/>
        <a:lstStyle/>
        <a:p>
          <a:pPr rtl="0"/>
          <a:r>
            <a:rPr lang="en-US" sz="1400" dirty="0" smtClean="0"/>
            <a:t>Plugin</a:t>
          </a:r>
          <a:endParaRPr lang="en-US" sz="1400" dirty="0"/>
        </a:p>
      </dgm:t>
    </dgm:pt>
    <dgm:pt modelId="{F3C51EA5-D1CB-467E-8FC0-08A4E88508B8}" type="parTrans" cxnId="{E71AF1E1-4C69-44A5-B80C-430148FEB520}">
      <dgm:prSet/>
      <dgm:spPr/>
      <dgm:t>
        <a:bodyPr/>
        <a:lstStyle/>
        <a:p>
          <a:endParaRPr lang="en-US" sz="3200"/>
        </a:p>
      </dgm:t>
    </dgm:pt>
    <dgm:pt modelId="{8A926D30-6501-46E8-AD95-88099FC59B9D}" type="sibTrans" cxnId="{E71AF1E1-4C69-44A5-B80C-430148FEB520}">
      <dgm:prSet/>
      <dgm:spPr/>
      <dgm:t>
        <a:bodyPr/>
        <a:lstStyle/>
        <a:p>
          <a:endParaRPr lang="en-US" sz="3200"/>
        </a:p>
      </dgm:t>
    </dgm:pt>
    <dgm:pt modelId="{D4035FB3-675A-4748-9CFE-20C25CF44FE5}">
      <dgm:prSet custT="1"/>
      <dgm:spPr/>
      <dgm:t>
        <a:bodyPr/>
        <a:lstStyle/>
        <a:p>
          <a:pPr rtl="0"/>
          <a:r>
            <a:rPr lang="en-US" sz="1400" dirty="0" smtClean="0"/>
            <a:t>Publish-subscribe</a:t>
          </a:r>
          <a:endParaRPr lang="en-US" sz="1400" dirty="0"/>
        </a:p>
      </dgm:t>
    </dgm:pt>
    <dgm:pt modelId="{08374802-1A2C-4A87-AD8F-B6851BAF3360}" type="parTrans" cxnId="{4EEDCCC1-8E76-45AE-BF63-8E29239FFDD9}">
      <dgm:prSet/>
      <dgm:spPr/>
      <dgm:t>
        <a:bodyPr/>
        <a:lstStyle/>
        <a:p>
          <a:endParaRPr lang="en-US" sz="3200"/>
        </a:p>
      </dgm:t>
    </dgm:pt>
    <dgm:pt modelId="{FEB4F105-1C01-4F11-8FE5-35B2A0E502A1}" type="sibTrans" cxnId="{4EEDCCC1-8E76-45AE-BF63-8E29239FFDD9}">
      <dgm:prSet/>
      <dgm:spPr/>
      <dgm:t>
        <a:bodyPr/>
        <a:lstStyle/>
        <a:p>
          <a:endParaRPr lang="en-US" sz="3200"/>
        </a:p>
      </dgm:t>
    </dgm:pt>
    <dgm:pt modelId="{E9F5810C-05C5-4937-8779-609DD6BD5CFD}" type="pres">
      <dgm:prSet presAssocID="{A26E1133-27F8-42A1-91FE-23383B9ACC99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25A00B3E-FEA8-439F-999E-8DB6BC95DBC0}" type="pres">
      <dgm:prSet presAssocID="{43BDC9E6-B3ED-4E11-B81F-A36F96CA06AD}" presName="hierRoot1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305CB9B7-E4C6-453D-AC39-1DA3FA25C576}" type="pres">
      <dgm:prSet presAssocID="{43BDC9E6-B3ED-4E11-B81F-A36F96CA06AD}" presName="rootComposite1" presStyleCnt="0"/>
      <dgm:spPr/>
      <dgm:t>
        <a:bodyPr/>
        <a:lstStyle/>
        <a:p>
          <a:endParaRPr lang="en-US"/>
        </a:p>
      </dgm:t>
    </dgm:pt>
    <dgm:pt modelId="{1AD90FEA-3135-49C2-A3C0-CFEDDC6405B3}" type="pres">
      <dgm:prSet presAssocID="{43BDC9E6-B3ED-4E11-B81F-A36F96CA06AD}" presName="rootText1" presStyleLbl="node0" presStyleIdx="0" presStyleCnt="1" custScaleX="18044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EF86BC6-06CE-4768-9942-F4420543D5EE}" type="pres">
      <dgm:prSet presAssocID="{43BDC9E6-B3ED-4E11-B81F-A36F96CA06AD}" presName="rootConnector1" presStyleLbl="node1" presStyleIdx="0" presStyleCnt="0"/>
      <dgm:spPr/>
      <dgm:t>
        <a:bodyPr/>
        <a:lstStyle/>
        <a:p>
          <a:endParaRPr lang="en-US"/>
        </a:p>
      </dgm:t>
    </dgm:pt>
    <dgm:pt modelId="{EC72B6B4-B63E-4FE2-8CC2-5FA221770366}" type="pres">
      <dgm:prSet presAssocID="{43BDC9E6-B3ED-4E11-B81F-A36F96CA06AD}" presName="hierChild2" presStyleCnt="0"/>
      <dgm:spPr/>
      <dgm:t>
        <a:bodyPr/>
        <a:lstStyle/>
        <a:p>
          <a:endParaRPr lang="en-US"/>
        </a:p>
      </dgm:t>
    </dgm:pt>
    <dgm:pt modelId="{A3BC68A0-CABF-4126-884C-C90818E1E26E}" type="pres">
      <dgm:prSet presAssocID="{3EEFE082-C4FA-499A-BA01-E4B8217A4B73}" presName="Name37" presStyleLbl="parChTrans1D2" presStyleIdx="0" presStyleCnt="3"/>
      <dgm:spPr/>
      <dgm:t>
        <a:bodyPr/>
        <a:lstStyle/>
        <a:p>
          <a:endParaRPr lang="en-US"/>
        </a:p>
      </dgm:t>
    </dgm:pt>
    <dgm:pt modelId="{9B84C5AA-6259-445A-8F7A-6D366FCBB4AD}" type="pres">
      <dgm:prSet presAssocID="{843E3B21-DC9F-4CF8-A7F1-93BF704E47A7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F324FB99-E565-440D-9319-A2867DA87756}" type="pres">
      <dgm:prSet presAssocID="{843E3B21-DC9F-4CF8-A7F1-93BF704E47A7}" presName="rootComposite" presStyleCnt="0"/>
      <dgm:spPr/>
      <dgm:t>
        <a:bodyPr/>
        <a:lstStyle/>
        <a:p>
          <a:endParaRPr lang="en-US"/>
        </a:p>
      </dgm:t>
    </dgm:pt>
    <dgm:pt modelId="{5E5C4910-D5C2-4117-9825-0F4E2308A1D4}" type="pres">
      <dgm:prSet presAssocID="{843E3B21-DC9F-4CF8-A7F1-93BF704E47A7}" presName="rootText" presStyleLbl="node2" presStyleIdx="0" presStyleCnt="3" custScaleX="177156" custScaleY="110000" custLinFactNeighborX="-18776" custLinFactNeighborY="1818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B22B6A5-BFAD-4E5F-BED0-C002FA69FEEF}" type="pres">
      <dgm:prSet presAssocID="{843E3B21-DC9F-4CF8-A7F1-93BF704E47A7}" presName="rootConnector" presStyleLbl="node2" presStyleIdx="0" presStyleCnt="3"/>
      <dgm:spPr/>
      <dgm:t>
        <a:bodyPr/>
        <a:lstStyle/>
        <a:p>
          <a:endParaRPr lang="en-US"/>
        </a:p>
      </dgm:t>
    </dgm:pt>
    <dgm:pt modelId="{16186025-4BC6-46E2-97F6-F9084F02632D}" type="pres">
      <dgm:prSet presAssocID="{843E3B21-DC9F-4CF8-A7F1-93BF704E47A7}" presName="hierChild4" presStyleCnt="0"/>
      <dgm:spPr/>
      <dgm:t>
        <a:bodyPr/>
        <a:lstStyle/>
        <a:p>
          <a:endParaRPr lang="en-US"/>
        </a:p>
      </dgm:t>
    </dgm:pt>
    <dgm:pt modelId="{A83ED5F7-10A0-45C9-B814-5804FA76917E}" type="pres">
      <dgm:prSet presAssocID="{3722DDF4-26E2-4422-A516-DEEAC3ECF65B}" presName="Name37" presStyleLbl="parChTrans1D3" presStyleIdx="0" presStyleCnt="10"/>
      <dgm:spPr/>
      <dgm:t>
        <a:bodyPr/>
        <a:lstStyle/>
        <a:p>
          <a:endParaRPr lang="en-US"/>
        </a:p>
      </dgm:t>
    </dgm:pt>
    <dgm:pt modelId="{D44CFE56-6231-4D51-BDF4-F9842887D455}" type="pres">
      <dgm:prSet presAssocID="{720AE7B9-47AD-4FF9-8447-DF1B8C5FD193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F340CB26-8421-44AC-9592-9BB7E87D96B8}" type="pres">
      <dgm:prSet presAssocID="{720AE7B9-47AD-4FF9-8447-DF1B8C5FD193}" presName="rootComposite" presStyleCnt="0"/>
      <dgm:spPr/>
      <dgm:t>
        <a:bodyPr/>
        <a:lstStyle/>
        <a:p>
          <a:endParaRPr lang="en-US"/>
        </a:p>
      </dgm:t>
    </dgm:pt>
    <dgm:pt modelId="{1064D61A-5C37-497D-A6F5-6312AB6E3F5A}" type="pres">
      <dgm:prSet presAssocID="{720AE7B9-47AD-4FF9-8447-DF1B8C5FD193}" presName="rootText" presStyleLbl="node3" presStyleIdx="0" presStyleCnt="10" custScaleX="177156" custScaleY="110000" custLinFactY="49672" custLinFactNeighborX="-23798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D0BA542-EABF-46D4-A11D-8954A50A4A27}" type="pres">
      <dgm:prSet presAssocID="{720AE7B9-47AD-4FF9-8447-DF1B8C5FD193}" presName="rootConnector" presStyleLbl="node3" presStyleIdx="0" presStyleCnt="10"/>
      <dgm:spPr/>
      <dgm:t>
        <a:bodyPr/>
        <a:lstStyle/>
        <a:p>
          <a:endParaRPr lang="en-US"/>
        </a:p>
      </dgm:t>
    </dgm:pt>
    <dgm:pt modelId="{CB5479DD-BB83-4A7F-A8FE-0204BBEBDE57}" type="pres">
      <dgm:prSet presAssocID="{720AE7B9-47AD-4FF9-8447-DF1B8C5FD193}" presName="hierChild4" presStyleCnt="0"/>
      <dgm:spPr/>
      <dgm:t>
        <a:bodyPr/>
        <a:lstStyle/>
        <a:p>
          <a:endParaRPr lang="en-US"/>
        </a:p>
      </dgm:t>
    </dgm:pt>
    <dgm:pt modelId="{72F3B94E-5E2C-4DF9-BCD5-3D635951032C}" type="pres">
      <dgm:prSet presAssocID="{720AE7B9-47AD-4FF9-8447-DF1B8C5FD193}" presName="hierChild5" presStyleCnt="0"/>
      <dgm:spPr/>
      <dgm:t>
        <a:bodyPr/>
        <a:lstStyle/>
        <a:p>
          <a:endParaRPr lang="en-US"/>
        </a:p>
      </dgm:t>
    </dgm:pt>
    <dgm:pt modelId="{A2B3E9C0-0CE1-4B88-9E71-F7CE1A7F99D7}" type="pres">
      <dgm:prSet presAssocID="{14236E25-24F5-4DBC-8E23-FED5A30DEF0E}" presName="Name37" presStyleLbl="parChTrans1D3" presStyleIdx="1" presStyleCnt="10"/>
      <dgm:spPr/>
      <dgm:t>
        <a:bodyPr/>
        <a:lstStyle/>
        <a:p>
          <a:endParaRPr lang="en-US"/>
        </a:p>
      </dgm:t>
    </dgm:pt>
    <dgm:pt modelId="{16797127-63BB-4E8C-8005-5E72B3FF9B3C}" type="pres">
      <dgm:prSet presAssocID="{7D7C3FA2-CE75-4B7D-A218-416906B8D917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4DFEF789-40AF-4966-81EA-F7C1CBE52773}" type="pres">
      <dgm:prSet presAssocID="{7D7C3FA2-CE75-4B7D-A218-416906B8D917}" presName="rootComposite" presStyleCnt="0"/>
      <dgm:spPr/>
      <dgm:t>
        <a:bodyPr/>
        <a:lstStyle/>
        <a:p>
          <a:endParaRPr lang="en-US"/>
        </a:p>
      </dgm:t>
    </dgm:pt>
    <dgm:pt modelId="{A77E27D0-EFD7-495B-9E1A-5A5371B8AB84}" type="pres">
      <dgm:prSet presAssocID="{7D7C3FA2-CE75-4B7D-A218-416906B8D917}" presName="rootText" presStyleLbl="node3" presStyleIdx="1" presStyleCnt="10" custScaleX="177156" custScaleY="110000" custLinFactY="49672" custLinFactNeighborX="-23798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3F8734B-291F-4EE9-8AEC-5D7130065FE8}" type="pres">
      <dgm:prSet presAssocID="{7D7C3FA2-CE75-4B7D-A218-416906B8D917}" presName="rootConnector" presStyleLbl="node3" presStyleIdx="1" presStyleCnt="10"/>
      <dgm:spPr/>
      <dgm:t>
        <a:bodyPr/>
        <a:lstStyle/>
        <a:p>
          <a:endParaRPr lang="en-US"/>
        </a:p>
      </dgm:t>
    </dgm:pt>
    <dgm:pt modelId="{F1241E53-1837-4666-9A60-B6AD42958195}" type="pres">
      <dgm:prSet presAssocID="{7D7C3FA2-CE75-4B7D-A218-416906B8D917}" presName="hierChild4" presStyleCnt="0"/>
      <dgm:spPr/>
      <dgm:t>
        <a:bodyPr/>
        <a:lstStyle/>
        <a:p>
          <a:endParaRPr lang="en-US"/>
        </a:p>
      </dgm:t>
    </dgm:pt>
    <dgm:pt modelId="{E1079AD2-0C8E-44F0-9596-6D504E6161CE}" type="pres">
      <dgm:prSet presAssocID="{7D7C3FA2-CE75-4B7D-A218-416906B8D917}" presName="hierChild5" presStyleCnt="0"/>
      <dgm:spPr/>
      <dgm:t>
        <a:bodyPr/>
        <a:lstStyle/>
        <a:p>
          <a:endParaRPr lang="en-US"/>
        </a:p>
      </dgm:t>
    </dgm:pt>
    <dgm:pt modelId="{50C84909-550F-4BDC-8966-B86E5E1786AE}" type="pres">
      <dgm:prSet presAssocID="{359E2506-5D19-4F9C-8688-C666576175A9}" presName="Name37" presStyleLbl="parChTrans1D3" presStyleIdx="2" presStyleCnt="10"/>
      <dgm:spPr/>
      <dgm:t>
        <a:bodyPr/>
        <a:lstStyle/>
        <a:p>
          <a:endParaRPr lang="en-US"/>
        </a:p>
      </dgm:t>
    </dgm:pt>
    <dgm:pt modelId="{EBCAC25B-3E97-4708-AA7E-0D44E4C06B2C}" type="pres">
      <dgm:prSet presAssocID="{9B931718-FC68-4B2E-9854-492BCFE6FE83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56A22D43-7DD1-46E6-B06A-D1D662EE6DAD}" type="pres">
      <dgm:prSet presAssocID="{9B931718-FC68-4B2E-9854-492BCFE6FE83}" presName="rootComposite" presStyleCnt="0"/>
      <dgm:spPr/>
      <dgm:t>
        <a:bodyPr/>
        <a:lstStyle/>
        <a:p>
          <a:endParaRPr lang="en-US"/>
        </a:p>
      </dgm:t>
    </dgm:pt>
    <dgm:pt modelId="{984A4F3B-0A00-4E5A-9092-1922B8A7FAB3}" type="pres">
      <dgm:prSet presAssocID="{9B931718-FC68-4B2E-9854-492BCFE6FE83}" presName="rootText" presStyleLbl="node3" presStyleIdx="2" presStyleCnt="10" custScaleX="177156" custScaleY="110000" custLinFactY="49672" custLinFactNeighborX="-23798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00B55C8-272E-490B-AB5F-A5C6369E8C79}" type="pres">
      <dgm:prSet presAssocID="{9B931718-FC68-4B2E-9854-492BCFE6FE83}" presName="rootConnector" presStyleLbl="node3" presStyleIdx="2" presStyleCnt="10"/>
      <dgm:spPr/>
      <dgm:t>
        <a:bodyPr/>
        <a:lstStyle/>
        <a:p>
          <a:endParaRPr lang="en-US"/>
        </a:p>
      </dgm:t>
    </dgm:pt>
    <dgm:pt modelId="{18D6C1B6-F902-4ABE-BB60-086B907C1C3A}" type="pres">
      <dgm:prSet presAssocID="{9B931718-FC68-4B2E-9854-492BCFE6FE83}" presName="hierChild4" presStyleCnt="0"/>
      <dgm:spPr/>
      <dgm:t>
        <a:bodyPr/>
        <a:lstStyle/>
        <a:p>
          <a:endParaRPr lang="en-US"/>
        </a:p>
      </dgm:t>
    </dgm:pt>
    <dgm:pt modelId="{4E3F742A-A2F5-4971-A026-90DA3CFE956C}" type="pres">
      <dgm:prSet presAssocID="{9B931718-FC68-4B2E-9854-492BCFE6FE83}" presName="hierChild5" presStyleCnt="0"/>
      <dgm:spPr/>
      <dgm:t>
        <a:bodyPr/>
        <a:lstStyle/>
        <a:p>
          <a:endParaRPr lang="en-US"/>
        </a:p>
      </dgm:t>
    </dgm:pt>
    <dgm:pt modelId="{CF00A05E-81E0-4C4F-9FC9-0B1D7BC7DE00}" type="pres">
      <dgm:prSet presAssocID="{55D0A0DD-88B0-4C7C-A785-02AC2DD8AEFB}" presName="Name37" presStyleLbl="parChTrans1D3" presStyleIdx="3" presStyleCnt="10"/>
      <dgm:spPr/>
      <dgm:t>
        <a:bodyPr/>
        <a:lstStyle/>
        <a:p>
          <a:endParaRPr lang="en-US"/>
        </a:p>
      </dgm:t>
    </dgm:pt>
    <dgm:pt modelId="{A00A133F-9C71-422B-B8D5-E1805943DC75}" type="pres">
      <dgm:prSet presAssocID="{E137C9BD-EE5B-476B-B7BA-BA0D9370FCFA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B2A302CD-478F-47E1-BBE5-EDCA7054BF9D}" type="pres">
      <dgm:prSet presAssocID="{E137C9BD-EE5B-476B-B7BA-BA0D9370FCFA}" presName="rootComposite" presStyleCnt="0"/>
      <dgm:spPr/>
      <dgm:t>
        <a:bodyPr/>
        <a:lstStyle/>
        <a:p>
          <a:endParaRPr lang="en-US"/>
        </a:p>
      </dgm:t>
    </dgm:pt>
    <dgm:pt modelId="{BA6AC4DB-0F64-47C4-8289-FB0923B8558A}" type="pres">
      <dgm:prSet presAssocID="{E137C9BD-EE5B-476B-B7BA-BA0D9370FCFA}" presName="rootText" presStyleLbl="node3" presStyleIdx="3" presStyleCnt="10" custScaleX="177156" custScaleY="110000" custLinFactY="49672" custLinFactNeighborX="-23798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D1BB766-10EA-42C1-95FD-C81A7C8A7741}" type="pres">
      <dgm:prSet presAssocID="{E137C9BD-EE5B-476B-B7BA-BA0D9370FCFA}" presName="rootConnector" presStyleLbl="node3" presStyleIdx="3" presStyleCnt="10"/>
      <dgm:spPr/>
      <dgm:t>
        <a:bodyPr/>
        <a:lstStyle/>
        <a:p>
          <a:endParaRPr lang="en-US"/>
        </a:p>
      </dgm:t>
    </dgm:pt>
    <dgm:pt modelId="{C0EE058C-ACBB-444C-AC89-E22EE759A819}" type="pres">
      <dgm:prSet presAssocID="{E137C9BD-EE5B-476B-B7BA-BA0D9370FCFA}" presName="hierChild4" presStyleCnt="0"/>
      <dgm:spPr/>
      <dgm:t>
        <a:bodyPr/>
        <a:lstStyle/>
        <a:p>
          <a:endParaRPr lang="en-US"/>
        </a:p>
      </dgm:t>
    </dgm:pt>
    <dgm:pt modelId="{87AEEA8C-77A3-4494-BB33-3FA6A927D4FE}" type="pres">
      <dgm:prSet presAssocID="{E137C9BD-EE5B-476B-B7BA-BA0D9370FCFA}" presName="hierChild5" presStyleCnt="0"/>
      <dgm:spPr/>
      <dgm:t>
        <a:bodyPr/>
        <a:lstStyle/>
        <a:p>
          <a:endParaRPr lang="en-US"/>
        </a:p>
      </dgm:t>
    </dgm:pt>
    <dgm:pt modelId="{82355405-192E-42E7-B905-7A6FE845C6D9}" type="pres">
      <dgm:prSet presAssocID="{843E3B21-DC9F-4CF8-A7F1-93BF704E47A7}" presName="hierChild5" presStyleCnt="0"/>
      <dgm:spPr/>
      <dgm:t>
        <a:bodyPr/>
        <a:lstStyle/>
        <a:p>
          <a:endParaRPr lang="en-US"/>
        </a:p>
      </dgm:t>
    </dgm:pt>
    <dgm:pt modelId="{96956835-3386-449C-A89B-65F7C680246D}" type="pres">
      <dgm:prSet presAssocID="{65D088B7-B36E-49AA-84B9-2BC51B326EA1}" presName="Name37" presStyleLbl="parChTrans1D2" presStyleIdx="1" presStyleCnt="3"/>
      <dgm:spPr/>
      <dgm:t>
        <a:bodyPr/>
        <a:lstStyle/>
        <a:p>
          <a:endParaRPr lang="en-US"/>
        </a:p>
      </dgm:t>
    </dgm:pt>
    <dgm:pt modelId="{DBD72DFC-EF80-4973-B6E5-D3C9AB052F9E}" type="pres">
      <dgm:prSet presAssocID="{E420C67E-C4C2-476B-9B47-FFB47D587009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72B31F8C-4060-4D82-8D0A-8A332812C464}" type="pres">
      <dgm:prSet presAssocID="{E420C67E-C4C2-476B-9B47-FFB47D587009}" presName="rootComposite" presStyleCnt="0"/>
      <dgm:spPr/>
      <dgm:t>
        <a:bodyPr/>
        <a:lstStyle/>
        <a:p>
          <a:endParaRPr lang="en-US"/>
        </a:p>
      </dgm:t>
    </dgm:pt>
    <dgm:pt modelId="{F0ED6141-24DB-4164-A2D4-B51E750525CD}" type="pres">
      <dgm:prSet presAssocID="{E420C67E-C4C2-476B-9B47-FFB47D587009}" presName="rootText" presStyleLbl="node2" presStyleIdx="1" presStyleCnt="3" custScaleX="177156" custScaleY="110000" custLinFactNeighborX="15121" custLinFactNeighborY="5074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5256018-C335-4CDB-9EC5-7AE2ABAC1E00}" type="pres">
      <dgm:prSet presAssocID="{E420C67E-C4C2-476B-9B47-FFB47D587009}" presName="rootConnector" presStyleLbl="node2" presStyleIdx="1" presStyleCnt="3"/>
      <dgm:spPr/>
      <dgm:t>
        <a:bodyPr/>
        <a:lstStyle/>
        <a:p>
          <a:endParaRPr lang="en-US"/>
        </a:p>
      </dgm:t>
    </dgm:pt>
    <dgm:pt modelId="{2A7D3334-4741-4667-BCDB-1A78491B4FD4}" type="pres">
      <dgm:prSet presAssocID="{E420C67E-C4C2-476B-9B47-FFB47D587009}" presName="hierChild4" presStyleCnt="0"/>
      <dgm:spPr/>
      <dgm:t>
        <a:bodyPr/>
        <a:lstStyle/>
        <a:p>
          <a:endParaRPr lang="en-US"/>
        </a:p>
      </dgm:t>
    </dgm:pt>
    <dgm:pt modelId="{CC07306D-4BD7-4477-BB61-A954489058D6}" type="pres">
      <dgm:prSet presAssocID="{C3334397-F4C9-43FD-9DE7-786437A51BF8}" presName="Name37" presStyleLbl="parChTrans1D3" presStyleIdx="4" presStyleCnt="10"/>
      <dgm:spPr/>
      <dgm:t>
        <a:bodyPr/>
        <a:lstStyle/>
        <a:p>
          <a:endParaRPr lang="en-US"/>
        </a:p>
      </dgm:t>
    </dgm:pt>
    <dgm:pt modelId="{0ECB6EE9-64D7-46FB-8A0A-B83CD370F0B4}" type="pres">
      <dgm:prSet presAssocID="{0216D3CF-84E5-4443-8082-6C6C297E9A4D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9D96850F-E3A0-4435-B942-5F48B18AC5F4}" type="pres">
      <dgm:prSet presAssocID="{0216D3CF-84E5-4443-8082-6C6C297E9A4D}" presName="rootComposite" presStyleCnt="0"/>
      <dgm:spPr/>
      <dgm:t>
        <a:bodyPr/>
        <a:lstStyle/>
        <a:p>
          <a:endParaRPr lang="en-US"/>
        </a:p>
      </dgm:t>
    </dgm:pt>
    <dgm:pt modelId="{CBCDE87F-FA6C-44B8-A9C2-1E747BE7F736}" type="pres">
      <dgm:prSet presAssocID="{0216D3CF-84E5-4443-8082-6C6C297E9A4D}" presName="rootText" presStyleLbl="node3" presStyleIdx="4" presStyleCnt="10" custScaleX="177156" custScaleY="110000" custLinFactY="33641" custLinFactNeighborX="15121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F9F174C-7D69-49F6-A7FE-7ED9990EB82A}" type="pres">
      <dgm:prSet presAssocID="{0216D3CF-84E5-4443-8082-6C6C297E9A4D}" presName="rootConnector" presStyleLbl="node3" presStyleIdx="4" presStyleCnt="10"/>
      <dgm:spPr/>
      <dgm:t>
        <a:bodyPr/>
        <a:lstStyle/>
        <a:p>
          <a:endParaRPr lang="en-US"/>
        </a:p>
      </dgm:t>
    </dgm:pt>
    <dgm:pt modelId="{1934090D-CBAE-4AB8-9BE7-C9762145998D}" type="pres">
      <dgm:prSet presAssocID="{0216D3CF-84E5-4443-8082-6C6C297E9A4D}" presName="hierChild4" presStyleCnt="0"/>
      <dgm:spPr/>
      <dgm:t>
        <a:bodyPr/>
        <a:lstStyle/>
        <a:p>
          <a:endParaRPr lang="en-US"/>
        </a:p>
      </dgm:t>
    </dgm:pt>
    <dgm:pt modelId="{7BCCCAFF-8404-460B-9A5A-B8BF91057993}" type="pres">
      <dgm:prSet presAssocID="{0216D3CF-84E5-4443-8082-6C6C297E9A4D}" presName="hierChild5" presStyleCnt="0"/>
      <dgm:spPr/>
      <dgm:t>
        <a:bodyPr/>
        <a:lstStyle/>
        <a:p>
          <a:endParaRPr lang="en-US"/>
        </a:p>
      </dgm:t>
    </dgm:pt>
    <dgm:pt modelId="{FE10A4AF-D8A8-4F2D-9661-56E5DBB5B2C5}" type="pres">
      <dgm:prSet presAssocID="{62301F5E-BDD5-4369-B9CF-5999FECA1C85}" presName="Name37" presStyleLbl="parChTrans1D3" presStyleIdx="5" presStyleCnt="10"/>
      <dgm:spPr/>
      <dgm:t>
        <a:bodyPr/>
        <a:lstStyle/>
        <a:p>
          <a:endParaRPr lang="en-US"/>
        </a:p>
      </dgm:t>
    </dgm:pt>
    <dgm:pt modelId="{6E36B90A-357D-4409-934D-6F40EC568AE0}" type="pres">
      <dgm:prSet presAssocID="{90833815-F732-45AF-B735-7A208BE16A8A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AB55976F-0A75-48BF-8621-9232364F260E}" type="pres">
      <dgm:prSet presAssocID="{90833815-F732-45AF-B735-7A208BE16A8A}" presName="rootComposite" presStyleCnt="0"/>
      <dgm:spPr/>
      <dgm:t>
        <a:bodyPr/>
        <a:lstStyle/>
        <a:p>
          <a:endParaRPr lang="en-US"/>
        </a:p>
      </dgm:t>
    </dgm:pt>
    <dgm:pt modelId="{5D0F02D1-4A23-4B53-AF4F-3529BE69829E}" type="pres">
      <dgm:prSet presAssocID="{90833815-F732-45AF-B735-7A208BE16A8A}" presName="rootText" presStyleLbl="node3" presStyleIdx="5" presStyleCnt="10" custScaleX="177156" custScaleY="110000" custLinFactY="33641" custLinFactNeighborX="15121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FF15CAA-9BF1-4437-B877-2B6831555847}" type="pres">
      <dgm:prSet presAssocID="{90833815-F732-45AF-B735-7A208BE16A8A}" presName="rootConnector" presStyleLbl="node3" presStyleIdx="5" presStyleCnt="10"/>
      <dgm:spPr/>
      <dgm:t>
        <a:bodyPr/>
        <a:lstStyle/>
        <a:p>
          <a:endParaRPr lang="en-US"/>
        </a:p>
      </dgm:t>
    </dgm:pt>
    <dgm:pt modelId="{8EE5665B-F21D-4DA6-A444-6C77DD3C6F95}" type="pres">
      <dgm:prSet presAssocID="{90833815-F732-45AF-B735-7A208BE16A8A}" presName="hierChild4" presStyleCnt="0"/>
      <dgm:spPr/>
      <dgm:t>
        <a:bodyPr/>
        <a:lstStyle/>
        <a:p>
          <a:endParaRPr lang="en-US"/>
        </a:p>
      </dgm:t>
    </dgm:pt>
    <dgm:pt modelId="{F1F43870-C4AC-4AF4-AB05-6A054FC06D63}" type="pres">
      <dgm:prSet presAssocID="{90833815-F732-45AF-B735-7A208BE16A8A}" presName="hierChild5" presStyleCnt="0"/>
      <dgm:spPr/>
      <dgm:t>
        <a:bodyPr/>
        <a:lstStyle/>
        <a:p>
          <a:endParaRPr lang="en-US"/>
        </a:p>
      </dgm:t>
    </dgm:pt>
    <dgm:pt modelId="{1D4D3FE4-1739-4B3C-ACD2-597D18FBC50F}" type="pres">
      <dgm:prSet presAssocID="{453F9760-1876-428B-8CB6-DA8F60516D89}" presName="Name37" presStyleLbl="parChTrans1D3" presStyleIdx="6" presStyleCnt="10"/>
      <dgm:spPr/>
      <dgm:t>
        <a:bodyPr/>
        <a:lstStyle/>
        <a:p>
          <a:endParaRPr lang="en-US"/>
        </a:p>
      </dgm:t>
    </dgm:pt>
    <dgm:pt modelId="{9115B6B6-EA79-4FE0-843B-D82CDE234246}" type="pres">
      <dgm:prSet presAssocID="{2F6572D1-3E4E-41CC-B816-15F6AA753750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B54B6D9A-0CB7-42FF-A0FD-F2137F2080D7}" type="pres">
      <dgm:prSet presAssocID="{2F6572D1-3E4E-41CC-B816-15F6AA753750}" presName="rootComposite" presStyleCnt="0"/>
      <dgm:spPr/>
      <dgm:t>
        <a:bodyPr/>
        <a:lstStyle/>
        <a:p>
          <a:endParaRPr lang="en-US"/>
        </a:p>
      </dgm:t>
    </dgm:pt>
    <dgm:pt modelId="{7BABB840-5689-4566-85C9-55C4A127C4C6}" type="pres">
      <dgm:prSet presAssocID="{2F6572D1-3E4E-41CC-B816-15F6AA753750}" presName="rootText" presStyleLbl="node3" presStyleIdx="6" presStyleCnt="10" custScaleX="177156" custScaleY="133100" custLinFactY="33641" custLinFactNeighborX="15121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3C99CCA-0A47-4420-ABC8-53654C0C3796}" type="pres">
      <dgm:prSet presAssocID="{2F6572D1-3E4E-41CC-B816-15F6AA753750}" presName="rootConnector" presStyleLbl="node3" presStyleIdx="6" presStyleCnt="10"/>
      <dgm:spPr/>
      <dgm:t>
        <a:bodyPr/>
        <a:lstStyle/>
        <a:p>
          <a:endParaRPr lang="en-US"/>
        </a:p>
      </dgm:t>
    </dgm:pt>
    <dgm:pt modelId="{0D889D42-77FB-49A7-B6E8-3A8C670AFEAD}" type="pres">
      <dgm:prSet presAssocID="{2F6572D1-3E4E-41CC-B816-15F6AA753750}" presName="hierChild4" presStyleCnt="0"/>
      <dgm:spPr/>
      <dgm:t>
        <a:bodyPr/>
        <a:lstStyle/>
        <a:p>
          <a:endParaRPr lang="en-US"/>
        </a:p>
      </dgm:t>
    </dgm:pt>
    <dgm:pt modelId="{6BE4F57E-EC21-4523-B1EB-3AEDD24C4D44}" type="pres">
      <dgm:prSet presAssocID="{2F6572D1-3E4E-41CC-B816-15F6AA753750}" presName="hierChild5" presStyleCnt="0"/>
      <dgm:spPr/>
      <dgm:t>
        <a:bodyPr/>
        <a:lstStyle/>
        <a:p>
          <a:endParaRPr lang="en-US"/>
        </a:p>
      </dgm:t>
    </dgm:pt>
    <dgm:pt modelId="{3A94D9E8-C2A3-4765-9477-D710CC646957}" type="pres">
      <dgm:prSet presAssocID="{6C5C9B86-7AAA-465B-98FF-E3F38189A3AE}" presName="Name37" presStyleLbl="parChTrans1D3" presStyleIdx="7" presStyleCnt="10"/>
      <dgm:spPr/>
      <dgm:t>
        <a:bodyPr/>
        <a:lstStyle/>
        <a:p>
          <a:endParaRPr lang="en-US"/>
        </a:p>
      </dgm:t>
    </dgm:pt>
    <dgm:pt modelId="{2EAD44A1-134B-439B-87EC-257234921AE5}" type="pres">
      <dgm:prSet presAssocID="{CFEBB133-5D80-4E9D-815E-BA7E2B5804D2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2FB73BF3-3C5D-4AD3-9D1C-8A589100FCB7}" type="pres">
      <dgm:prSet presAssocID="{CFEBB133-5D80-4E9D-815E-BA7E2B5804D2}" presName="rootComposite" presStyleCnt="0"/>
      <dgm:spPr/>
      <dgm:t>
        <a:bodyPr/>
        <a:lstStyle/>
        <a:p>
          <a:endParaRPr lang="en-US"/>
        </a:p>
      </dgm:t>
    </dgm:pt>
    <dgm:pt modelId="{50D60845-A14B-4DD0-8DB4-8B07FEB31A21}" type="pres">
      <dgm:prSet presAssocID="{CFEBB133-5D80-4E9D-815E-BA7E2B5804D2}" presName="rootText" presStyleLbl="node3" presStyleIdx="7" presStyleCnt="10" custScaleX="177156" custScaleY="110000" custLinFactY="33641" custLinFactNeighborX="42563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55C39B9-C17D-4782-B68D-D9F73AAEE095}" type="pres">
      <dgm:prSet presAssocID="{CFEBB133-5D80-4E9D-815E-BA7E2B5804D2}" presName="rootConnector" presStyleLbl="node3" presStyleIdx="7" presStyleCnt="10"/>
      <dgm:spPr/>
      <dgm:t>
        <a:bodyPr/>
        <a:lstStyle/>
        <a:p>
          <a:endParaRPr lang="en-US"/>
        </a:p>
      </dgm:t>
    </dgm:pt>
    <dgm:pt modelId="{FE161E8F-9C2C-4330-91D6-9E6A7C6F19FB}" type="pres">
      <dgm:prSet presAssocID="{CFEBB133-5D80-4E9D-815E-BA7E2B5804D2}" presName="hierChild4" presStyleCnt="0"/>
      <dgm:spPr/>
      <dgm:t>
        <a:bodyPr/>
        <a:lstStyle/>
        <a:p>
          <a:endParaRPr lang="en-US"/>
        </a:p>
      </dgm:t>
    </dgm:pt>
    <dgm:pt modelId="{DCFA5C64-38E4-453B-BB1F-AE8ADB7F8B50}" type="pres">
      <dgm:prSet presAssocID="{CFEBB133-5D80-4E9D-815E-BA7E2B5804D2}" presName="hierChild5" presStyleCnt="0"/>
      <dgm:spPr/>
      <dgm:t>
        <a:bodyPr/>
        <a:lstStyle/>
        <a:p>
          <a:endParaRPr lang="en-US"/>
        </a:p>
      </dgm:t>
    </dgm:pt>
    <dgm:pt modelId="{1DBB8D6B-1EA9-448A-B87B-A162873E7B21}" type="pres">
      <dgm:prSet presAssocID="{E420C67E-C4C2-476B-9B47-FFB47D587009}" presName="hierChild5" presStyleCnt="0"/>
      <dgm:spPr/>
      <dgm:t>
        <a:bodyPr/>
        <a:lstStyle/>
        <a:p>
          <a:endParaRPr lang="en-US"/>
        </a:p>
      </dgm:t>
    </dgm:pt>
    <dgm:pt modelId="{C137CAE9-66E1-459B-A733-9B53B02E07AF}" type="pres">
      <dgm:prSet presAssocID="{6ED4E1AA-EFDD-4E70-836E-3DB36084DE98}" presName="Name37" presStyleLbl="parChTrans1D2" presStyleIdx="2" presStyleCnt="3"/>
      <dgm:spPr/>
      <dgm:t>
        <a:bodyPr/>
        <a:lstStyle/>
        <a:p>
          <a:endParaRPr lang="en-US"/>
        </a:p>
      </dgm:t>
    </dgm:pt>
    <dgm:pt modelId="{35CBA655-D40F-4A2B-B71A-711D392B5A84}" type="pres">
      <dgm:prSet presAssocID="{1CE2D78B-C788-472A-8424-7F9A4AB5205E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9DC86AED-B6DB-4100-9EA0-4E60FFB4A367}" type="pres">
      <dgm:prSet presAssocID="{1CE2D78B-C788-472A-8424-7F9A4AB5205E}" presName="rootComposite" presStyleCnt="0"/>
      <dgm:spPr/>
      <dgm:t>
        <a:bodyPr/>
        <a:lstStyle/>
        <a:p>
          <a:endParaRPr lang="en-US"/>
        </a:p>
      </dgm:t>
    </dgm:pt>
    <dgm:pt modelId="{A5F2589C-C16C-45F2-9A3D-F2A6CB2476D1}" type="pres">
      <dgm:prSet presAssocID="{1CE2D78B-C788-472A-8424-7F9A4AB5205E}" presName="rootText" presStyleLbl="node2" presStyleIdx="2" presStyleCnt="3" custScaleX="177156" custLinFactNeighborX="9371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D7B6648-0B7F-4E1F-B6C5-CE0E2F04B9FF}" type="pres">
      <dgm:prSet presAssocID="{1CE2D78B-C788-472A-8424-7F9A4AB5205E}" presName="rootConnector" presStyleLbl="node2" presStyleIdx="2" presStyleCnt="3"/>
      <dgm:spPr/>
      <dgm:t>
        <a:bodyPr/>
        <a:lstStyle/>
        <a:p>
          <a:endParaRPr lang="en-US"/>
        </a:p>
      </dgm:t>
    </dgm:pt>
    <dgm:pt modelId="{29CE8073-D253-4588-B954-7167D33B1947}" type="pres">
      <dgm:prSet presAssocID="{1CE2D78B-C788-472A-8424-7F9A4AB5205E}" presName="hierChild4" presStyleCnt="0"/>
      <dgm:spPr/>
      <dgm:t>
        <a:bodyPr/>
        <a:lstStyle/>
        <a:p>
          <a:endParaRPr lang="en-US"/>
        </a:p>
      </dgm:t>
    </dgm:pt>
    <dgm:pt modelId="{B3F6E978-95D0-49EC-8802-EBBBC8209E5D}" type="pres">
      <dgm:prSet presAssocID="{AD802413-175C-4187-B88C-5583163E329C}" presName="Name37" presStyleLbl="parChTrans1D3" presStyleIdx="8" presStyleCnt="10"/>
      <dgm:spPr/>
      <dgm:t>
        <a:bodyPr/>
        <a:lstStyle/>
        <a:p>
          <a:endParaRPr lang="en-US"/>
        </a:p>
      </dgm:t>
    </dgm:pt>
    <dgm:pt modelId="{276A0FE5-E7C9-47B9-8661-6ECAE19E3FD7}" type="pres">
      <dgm:prSet presAssocID="{5DB6D400-5209-470C-8913-531D6E5768B4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2372BFBF-82AB-4A73-8A41-95810696B160}" type="pres">
      <dgm:prSet presAssocID="{5DB6D400-5209-470C-8913-531D6E5768B4}" presName="rootComposite" presStyleCnt="0"/>
      <dgm:spPr/>
      <dgm:t>
        <a:bodyPr/>
        <a:lstStyle/>
        <a:p>
          <a:endParaRPr lang="en-US"/>
        </a:p>
      </dgm:t>
    </dgm:pt>
    <dgm:pt modelId="{7001C0C6-E80B-4DDC-8CC5-73BD56ED162E}" type="pres">
      <dgm:prSet presAssocID="{5DB6D400-5209-470C-8913-531D6E5768B4}" presName="rootText" presStyleLbl="node3" presStyleIdx="8" presStyleCnt="10" custScaleX="133100" custLinFactNeighborX="1807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8465CC3-BC40-4516-AF3E-4B9B5EA514A3}" type="pres">
      <dgm:prSet presAssocID="{5DB6D400-5209-470C-8913-531D6E5768B4}" presName="rootConnector" presStyleLbl="node3" presStyleIdx="8" presStyleCnt="10"/>
      <dgm:spPr/>
      <dgm:t>
        <a:bodyPr/>
        <a:lstStyle/>
        <a:p>
          <a:endParaRPr lang="en-US"/>
        </a:p>
      </dgm:t>
    </dgm:pt>
    <dgm:pt modelId="{2ACB19F8-E47E-46C1-9102-6CCC1FE98B0B}" type="pres">
      <dgm:prSet presAssocID="{5DB6D400-5209-470C-8913-531D6E5768B4}" presName="hierChild4" presStyleCnt="0"/>
      <dgm:spPr/>
      <dgm:t>
        <a:bodyPr/>
        <a:lstStyle/>
        <a:p>
          <a:endParaRPr lang="en-US"/>
        </a:p>
      </dgm:t>
    </dgm:pt>
    <dgm:pt modelId="{AA0029C3-AE83-4316-8033-59A2BC4BA550}" type="pres">
      <dgm:prSet presAssocID="{36E557AF-1BC6-4838-B248-65E3AC06CD76}" presName="Name37" presStyleLbl="parChTrans1D4" presStyleIdx="0" presStyleCnt="7"/>
      <dgm:spPr/>
      <dgm:t>
        <a:bodyPr/>
        <a:lstStyle/>
        <a:p>
          <a:endParaRPr lang="en-US"/>
        </a:p>
      </dgm:t>
    </dgm:pt>
    <dgm:pt modelId="{66D40A80-ECE6-4BA4-AEB0-7BE715E532FF}" type="pres">
      <dgm:prSet presAssocID="{AC89BCD7-10FF-48F4-86B9-8B80EB092E96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BD6C599A-8ECA-4506-9EEE-87D329EC289D}" type="pres">
      <dgm:prSet presAssocID="{AC89BCD7-10FF-48F4-86B9-8B80EB092E96}" presName="rootComposite" presStyleCnt="0"/>
      <dgm:spPr/>
      <dgm:t>
        <a:bodyPr/>
        <a:lstStyle/>
        <a:p>
          <a:endParaRPr lang="en-US"/>
        </a:p>
      </dgm:t>
    </dgm:pt>
    <dgm:pt modelId="{831720FA-D5E3-4C7F-A57E-CFE8CC23F338}" type="pres">
      <dgm:prSet presAssocID="{AC89BCD7-10FF-48F4-86B9-8B80EB092E96}" presName="rootText" presStyleLbl="node4" presStyleIdx="0" presStyleCnt="7" custScaleX="120532" custScaleY="122137" custLinFactNeighborX="12528" custLinFactNeighborY="9822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089BE1A-3994-4C9F-969E-37FB46E97BA1}" type="pres">
      <dgm:prSet presAssocID="{AC89BCD7-10FF-48F4-86B9-8B80EB092E96}" presName="rootConnector" presStyleLbl="node4" presStyleIdx="0" presStyleCnt="7"/>
      <dgm:spPr/>
      <dgm:t>
        <a:bodyPr/>
        <a:lstStyle/>
        <a:p>
          <a:endParaRPr lang="en-US"/>
        </a:p>
      </dgm:t>
    </dgm:pt>
    <dgm:pt modelId="{4E451FF5-83EC-4EF3-AF81-8339105D5D35}" type="pres">
      <dgm:prSet presAssocID="{AC89BCD7-10FF-48F4-86B9-8B80EB092E96}" presName="hierChild4" presStyleCnt="0"/>
      <dgm:spPr/>
      <dgm:t>
        <a:bodyPr/>
        <a:lstStyle/>
        <a:p>
          <a:endParaRPr lang="en-US"/>
        </a:p>
      </dgm:t>
    </dgm:pt>
    <dgm:pt modelId="{019C3773-D875-4308-8D65-988AD5B67A69}" type="pres">
      <dgm:prSet presAssocID="{AC89BCD7-10FF-48F4-86B9-8B80EB092E96}" presName="hierChild5" presStyleCnt="0"/>
      <dgm:spPr/>
      <dgm:t>
        <a:bodyPr/>
        <a:lstStyle/>
        <a:p>
          <a:endParaRPr lang="en-US"/>
        </a:p>
      </dgm:t>
    </dgm:pt>
    <dgm:pt modelId="{F13CBE1E-B3C0-4B69-A417-49CBD85143BB}" type="pres">
      <dgm:prSet presAssocID="{5DB6D400-5209-470C-8913-531D6E5768B4}" presName="hierChild5" presStyleCnt="0"/>
      <dgm:spPr/>
      <dgm:t>
        <a:bodyPr/>
        <a:lstStyle/>
        <a:p>
          <a:endParaRPr lang="en-US"/>
        </a:p>
      </dgm:t>
    </dgm:pt>
    <dgm:pt modelId="{FE1ECB8B-3B17-4C2A-B0D6-F3E2F1F738C2}" type="pres">
      <dgm:prSet presAssocID="{D5C97393-61F4-42DF-B08C-C853AA352A39}" presName="Name37" presStyleLbl="parChTrans1D3" presStyleIdx="9" presStyleCnt="10"/>
      <dgm:spPr/>
      <dgm:t>
        <a:bodyPr/>
        <a:lstStyle/>
        <a:p>
          <a:endParaRPr lang="en-US"/>
        </a:p>
      </dgm:t>
    </dgm:pt>
    <dgm:pt modelId="{719FFAF0-57A0-46B9-94BC-A6EDF55A6D11}" type="pres">
      <dgm:prSet presAssocID="{7377930C-9048-4C75-A996-4B972DEB240F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02466CFC-4DF1-4A06-A20F-FE2F097B764C}" type="pres">
      <dgm:prSet presAssocID="{7377930C-9048-4C75-A996-4B972DEB240F}" presName="rootComposite" presStyleCnt="0"/>
      <dgm:spPr/>
      <dgm:t>
        <a:bodyPr/>
        <a:lstStyle/>
        <a:p>
          <a:endParaRPr lang="en-US"/>
        </a:p>
      </dgm:t>
    </dgm:pt>
    <dgm:pt modelId="{3F3A1C94-9E4D-49E6-8EF8-C7EE7891622E}" type="pres">
      <dgm:prSet presAssocID="{7377930C-9048-4C75-A996-4B972DEB240F}" presName="rootText" presStyleLbl="node3" presStyleIdx="9" presStyleCnt="10" custScaleX="133100" custLinFactNeighborX="3230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34EE0FE-32DB-46CB-83FB-2618232C53DD}" type="pres">
      <dgm:prSet presAssocID="{7377930C-9048-4C75-A996-4B972DEB240F}" presName="rootConnector" presStyleLbl="node3" presStyleIdx="9" presStyleCnt="10"/>
      <dgm:spPr/>
      <dgm:t>
        <a:bodyPr/>
        <a:lstStyle/>
        <a:p>
          <a:endParaRPr lang="en-US"/>
        </a:p>
      </dgm:t>
    </dgm:pt>
    <dgm:pt modelId="{52CDB310-5623-48FC-A23E-3FDCA04F494F}" type="pres">
      <dgm:prSet presAssocID="{7377930C-9048-4C75-A996-4B972DEB240F}" presName="hierChild4" presStyleCnt="0"/>
      <dgm:spPr/>
      <dgm:t>
        <a:bodyPr/>
        <a:lstStyle/>
        <a:p>
          <a:endParaRPr lang="en-US"/>
        </a:p>
      </dgm:t>
    </dgm:pt>
    <dgm:pt modelId="{AEDC7120-FE6F-49D8-95F2-AB1B2B6AC9A8}" type="pres">
      <dgm:prSet presAssocID="{F0BD47AB-7AC9-40A2-A96D-1A911EFDE7FF}" presName="Name37" presStyleLbl="parChTrans1D4" presStyleIdx="1" presStyleCnt="7"/>
      <dgm:spPr/>
      <dgm:t>
        <a:bodyPr/>
        <a:lstStyle/>
        <a:p>
          <a:endParaRPr lang="en-US"/>
        </a:p>
      </dgm:t>
    </dgm:pt>
    <dgm:pt modelId="{F65159AB-B6AE-4C58-BE85-DB4966F15FBA}" type="pres">
      <dgm:prSet presAssocID="{A240A1E1-162D-4A6E-A806-B6FF45B3AB68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4413A7CD-B07B-4481-95F7-63264BEB8326}" type="pres">
      <dgm:prSet presAssocID="{A240A1E1-162D-4A6E-A806-B6FF45B3AB68}" presName="rootComposite" presStyleCnt="0"/>
      <dgm:spPr/>
      <dgm:t>
        <a:bodyPr/>
        <a:lstStyle/>
        <a:p>
          <a:endParaRPr lang="en-US"/>
        </a:p>
      </dgm:t>
    </dgm:pt>
    <dgm:pt modelId="{6E033C69-6BA8-4812-AE4E-0022A986E944}" type="pres">
      <dgm:prSet presAssocID="{A240A1E1-162D-4A6E-A806-B6FF45B3AB68}" presName="rootText" presStyleLbl="node4" presStyleIdx="1" presStyleCnt="7" custScaleX="177156" custLinFactNeighborX="6425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0C564F4-BF5C-4321-B86B-65391CEDEFC7}" type="pres">
      <dgm:prSet presAssocID="{A240A1E1-162D-4A6E-A806-B6FF45B3AB68}" presName="rootConnector" presStyleLbl="node4" presStyleIdx="1" presStyleCnt="7"/>
      <dgm:spPr/>
      <dgm:t>
        <a:bodyPr/>
        <a:lstStyle/>
        <a:p>
          <a:endParaRPr lang="en-US"/>
        </a:p>
      </dgm:t>
    </dgm:pt>
    <dgm:pt modelId="{7C0A51FE-5187-4FBA-A9F6-DFFAA1B3DD3E}" type="pres">
      <dgm:prSet presAssocID="{A240A1E1-162D-4A6E-A806-B6FF45B3AB68}" presName="hierChild4" presStyleCnt="0"/>
      <dgm:spPr/>
      <dgm:t>
        <a:bodyPr/>
        <a:lstStyle/>
        <a:p>
          <a:endParaRPr lang="en-US"/>
        </a:p>
      </dgm:t>
    </dgm:pt>
    <dgm:pt modelId="{A5F1F6CB-B812-4FEA-ACD0-E838992C8274}" type="pres">
      <dgm:prSet presAssocID="{A240A1E1-162D-4A6E-A806-B6FF45B3AB68}" presName="hierChild5" presStyleCnt="0"/>
      <dgm:spPr/>
      <dgm:t>
        <a:bodyPr/>
        <a:lstStyle/>
        <a:p>
          <a:endParaRPr lang="en-US"/>
        </a:p>
      </dgm:t>
    </dgm:pt>
    <dgm:pt modelId="{28E82B1A-B1F2-4CC5-9B64-B60015CBF624}" type="pres">
      <dgm:prSet presAssocID="{A60BCA66-49BB-4275-9110-8B471B3FC59B}" presName="Name37" presStyleLbl="parChTrans1D4" presStyleIdx="2" presStyleCnt="7"/>
      <dgm:spPr/>
      <dgm:t>
        <a:bodyPr/>
        <a:lstStyle/>
        <a:p>
          <a:endParaRPr lang="en-US"/>
        </a:p>
      </dgm:t>
    </dgm:pt>
    <dgm:pt modelId="{B22DAA2B-22C5-4EFA-A0A6-9AD0235D2103}" type="pres">
      <dgm:prSet presAssocID="{35016019-1F0E-47A9-A9CB-AE98C0AFCFC1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514CA667-AA27-4D37-9311-1D5D85EF643D}" type="pres">
      <dgm:prSet presAssocID="{35016019-1F0E-47A9-A9CB-AE98C0AFCFC1}" presName="rootComposite" presStyleCnt="0"/>
      <dgm:spPr/>
      <dgm:t>
        <a:bodyPr/>
        <a:lstStyle/>
        <a:p>
          <a:endParaRPr lang="en-US"/>
        </a:p>
      </dgm:t>
    </dgm:pt>
    <dgm:pt modelId="{428A54D9-43F6-47B6-B3A2-FDCE09CB5A97}" type="pres">
      <dgm:prSet presAssocID="{35016019-1F0E-47A9-A9CB-AE98C0AFCFC1}" presName="rootText" presStyleLbl="node4" presStyleIdx="2" presStyleCnt="7" custScaleX="177156" custScaleY="64293" custLinFactNeighborX="6425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1DAB6FE-4097-4695-9397-7DCCE262634B}" type="pres">
      <dgm:prSet presAssocID="{35016019-1F0E-47A9-A9CB-AE98C0AFCFC1}" presName="rootConnector" presStyleLbl="node4" presStyleIdx="2" presStyleCnt="7"/>
      <dgm:spPr/>
      <dgm:t>
        <a:bodyPr/>
        <a:lstStyle/>
        <a:p>
          <a:endParaRPr lang="en-US"/>
        </a:p>
      </dgm:t>
    </dgm:pt>
    <dgm:pt modelId="{F4CC167B-F2F2-455C-9A45-823F18AFEF9A}" type="pres">
      <dgm:prSet presAssocID="{35016019-1F0E-47A9-A9CB-AE98C0AFCFC1}" presName="hierChild4" presStyleCnt="0"/>
      <dgm:spPr/>
      <dgm:t>
        <a:bodyPr/>
        <a:lstStyle/>
        <a:p>
          <a:endParaRPr lang="en-US"/>
        </a:p>
      </dgm:t>
    </dgm:pt>
    <dgm:pt modelId="{A5D0575B-48E0-4A98-88E8-8B4961A6F762}" type="pres">
      <dgm:prSet presAssocID="{35016019-1F0E-47A9-A9CB-AE98C0AFCFC1}" presName="hierChild5" presStyleCnt="0"/>
      <dgm:spPr/>
      <dgm:t>
        <a:bodyPr/>
        <a:lstStyle/>
        <a:p>
          <a:endParaRPr lang="en-US"/>
        </a:p>
      </dgm:t>
    </dgm:pt>
    <dgm:pt modelId="{11628582-088E-42FA-B6EC-953F652565B0}" type="pres">
      <dgm:prSet presAssocID="{9275B05E-F520-4192-9B33-84AEEBC3F62D}" presName="Name37" presStyleLbl="parChTrans1D4" presStyleIdx="3" presStyleCnt="7"/>
      <dgm:spPr/>
      <dgm:t>
        <a:bodyPr/>
        <a:lstStyle/>
        <a:p>
          <a:endParaRPr lang="en-US"/>
        </a:p>
      </dgm:t>
    </dgm:pt>
    <dgm:pt modelId="{7E6CA653-D7FD-4B20-AE44-C1F44E30C01B}" type="pres">
      <dgm:prSet presAssocID="{49742260-F14F-4BCB-8D88-ADD2EB5024EC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E179F35A-A640-480A-9C40-3D39813B5DA3}" type="pres">
      <dgm:prSet presAssocID="{49742260-F14F-4BCB-8D88-ADD2EB5024EC}" presName="rootComposite" presStyleCnt="0"/>
      <dgm:spPr/>
      <dgm:t>
        <a:bodyPr/>
        <a:lstStyle/>
        <a:p>
          <a:endParaRPr lang="en-US"/>
        </a:p>
      </dgm:t>
    </dgm:pt>
    <dgm:pt modelId="{93507A0E-B606-4F7A-9C01-283769128FF2}" type="pres">
      <dgm:prSet presAssocID="{49742260-F14F-4BCB-8D88-ADD2EB5024EC}" presName="rootText" presStyleLbl="node4" presStyleIdx="3" presStyleCnt="7" custScaleX="177156" custScaleY="64293" custLinFactNeighborX="6425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A7ED8CE-14CF-4D38-BE63-D19E93618025}" type="pres">
      <dgm:prSet presAssocID="{49742260-F14F-4BCB-8D88-ADD2EB5024EC}" presName="rootConnector" presStyleLbl="node4" presStyleIdx="3" presStyleCnt="7"/>
      <dgm:spPr/>
      <dgm:t>
        <a:bodyPr/>
        <a:lstStyle/>
        <a:p>
          <a:endParaRPr lang="en-US"/>
        </a:p>
      </dgm:t>
    </dgm:pt>
    <dgm:pt modelId="{D06BFE77-47E2-4E99-9240-F26F88BFBEAB}" type="pres">
      <dgm:prSet presAssocID="{49742260-F14F-4BCB-8D88-ADD2EB5024EC}" presName="hierChild4" presStyleCnt="0"/>
      <dgm:spPr/>
      <dgm:t>
        <a:bodyPr/>
        <a:lstStyle/>
        <a:p>
          <a:endParaRPr lang="en-US"/>
        </a:p>
      </dgm:t>
    </dgm:pt>
    <dgm:pt modelId="{801CA00E-B2B0-4EC5-9889-E9E28C332373}" type="pres">
      <dgm:prSet presAssocID="{49742260-F14F-4BCB-8D88-ADD2EB5024EC}" presName="hierChild5" presStyleCnt="0"/>
      <dgm:spPr/>
      <dgm:t>
        <a:bodyPr/>
        <a:lstStyle/>
        <a:p>
          <a:endParaRPr lang="en-US"/>
        </a:p>
      </dgm:t>
    </dgm:pt>
    <dgm:pt modelId="{F6DF7D20-97CE-45B5-8272-1D8DFBF4322E}" type="pres">
      <dgm:prSet presAssocID="{5393009C-F2AE-4FEB-A060-2EF8CA0E315B}" presName="Name37" presStyleLbl="parChTrans1D4" presStyleIdx="4" presStyleCnt="7"/>
      <dgm:spPr/>
      <dgm:t>
        <a:bodyPr/>
        <a:lstStyle/>
        <a:p>
          <a:endParaRPr lang="en-US"/>
        </a:p>
      </dgm:t>
    </dgm:pt>
    <dgm:pt modelId="{33DF2477-EB85-4B7E-BFD1-431DD797052F}" type="pres">
      <dgm:prSet presAssocID="{73A0098F-31D8-453C-84FD-0E0CD7A87527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981C2610-43E5-46F5-91D9-212743DD34A5}" type="pres">
      <dgm:prSet presAssocID="{73A0098F-31D8-453C-84FD-0E0CD7A87527}" presName="rootComposite" presStyleCnt="0"/>
      <dgm:spPr/>
      <dgm:t>
        <a:bodyPr/>
        <a:lstStyle/>
        <a:p>
          <a:endParaRPr lang="en-US"/>
        </a:p>
      </dgm:t>
    </dgm:pt>
    <dgm:pt modelId="{B48C34C0-3268-4BDA-9392-41361EEA60C6}" type="pres">
      <dgm:prSet presAssocID="{73A0098F-31D8-453C-84FD-0E0CD7A87527}" presName="rootText" presStyleLbl="node4" presStyleIdx="4" presStyleCnt="7" custScaleX="177156" custScaleY="64293" custLinFactNeighborX="6425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4864036-80FA-4A2E-B84D-CE2A3973B0C9}" type="pres">
      <dgm:prSet presAssocID="{73A0098F-31D8-453C-84FD-0E0CD7A87527}" presName="rootConnector" presStyleLbl="node4" presStyleIdx="4" presStyleCnt="7"/>
      <dgm:spPr/>
      <dgm:t>
        <a:bodyPr/>
        <a:lstStyle/>
        <a:p>
          <a:endParaRPr lang="en-US"/>
        </a:p>
      </dgm:t>
    </dgm:pt>
    <dgm:pt modelId="{7DAFD94E-7849-48EA-9120-080EB3D68BB6}" type="pres">
      <dgm:prSet presAssocID="{73A0098F-31D8-453C-84FD-0E0CD7A87527}" presName="hierChild4" presStyleCnt="0"/>
      <dgm:spPr/>
      <dgm:t>
        <a:bodyPr/>
        <a:lstStyle/>
        <a:p>
          <a:endParaRPr lang="en-US"/>
        </a:p>
      </dgm:t>
    </dgm:pt>
    <dgm:pt modelId="{5A546465-A07C-44FA-A3D6-3DB7985C1CD2}" type="pres">
      <dgm:prSet presAssocID="{73A0098F-31D8-453C-84FD-0E0CD7A87527}" presName="hierChild5" presStyleCnt="0"/>
      <dgm:spPr/>
      <dgm:t>
        <a:bodyPr/>
        <a:lstStyle/>
        <a:p>
          <a:endParaRPr lang="en-US"/>
        </a:p>
      </dgm:t>
    </dgm:pt>
    <dgm:pt modelId="{7D219183-9F73-4F55-B29C-C002A874E742}" type="pres">
      <dgm:prSet presAssocID="{F3C51EA5-D1CB-467E-8FC0-08A4E88508B8}" presName="Name37" presStyleLbl="parChTrans1D4" presStyleIdx="5" presStyleCnt="7"/>
      <dgm:spPr/>
      <dgm:t>
        <a:bodyPr/>
        <a:lstStyle/>
        <a:p>
          <a:endParaRPr lang="en-US"/>
        </a:p>
      </dgm:t>
    </dgm:pt>
    <dgm:pt modelId="{9C657C4E-43D4-4844-A396-A9E16C60B4AB}" type="pres">
      <dgm:prSet presAssocID="{93812BF0-8AD5-4A0C-BFE2-912B50E287D9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4B125702-EDC6-47D9-9AE2-BA876B331F00}" type="pres">
      <dgm:prSet presAssocID="{93812BF0-8AD5-4A0C-BFE2-912B50E287D9}" presName="rootComposite" presStyleCnt="0"/>
      <dgm:spPr/>
      <dgm:t>
        <a:bodyPr/>
        <a:lstStyle/>
        <a:p>
          <a:endParaRPr lang="en-US"/>
        </a:p>
      </dgm:t>
    </dgm:pt>
    <dgm:pt modelId="{FCA045DB-109B-4BD9-8B5B-936265CC06EC}" type="pres">
      <dgm:prSet presAssocID="{93812BF0-8AD5-4A0C-BFE2-912B50E287D9}" presName="rootText" presStyleLbl="node4" presStyleIdx="5" presStyleCnt="7" custScaleX="177156" custScaleY="64293" custLinFactNeighborX="6425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78EAE62-3892-406B-AF89-386FD429C653}" type="pres">
      <dgm:prSet presAssocID="{93812BF0-8AD5-4A0C-BFE2-912B50E287D9}" presName="rootConnector" presStyleLbl="node4" presStyleIdx="5" presStyleCnt="7"/>
      <dgm:spPr/>
      <dgm:t>
        <a:bodyPr/>
        <a:lstStyle/>
        <a:p>
          <a:endParaRPr lang="en-US"/>
        </a:p>
      </dgm:t>
    </dgm:pt>
    <dgm:pt modelId="{3F318C6F-2898-4DA8-8E1F-E47006D8FF33}" type="pres">
      <dgm:prSet presAssocID="{93812BF0-8AD5-4A0C-BFE2-912B50E287D9}" presName="hierChild4" presStyleCnt="0"/>
      <dgm:spPr/>
      <dgm:t>
        <a:bodyPr/>
        <a:lstStyle/>
        <a:p>
          <a:endParaRPr lang="en-US"/>
        </a:p>
      </dgm:t>
    </dgm:pt>
    <dgm:pt modelId="{3E7B3F09-7631-46D7-9AE7-4931C776930D}" type="pres">
      <dgm:prSet presAssocID="{93812BF0-8AD5-4A0C-BFE2-912B50E287D9}" presName="hierChild5" presStyleCnt="0"/>
      <dgm:spPr/>
      <dgm:t>
        <a:bodyPr/>
        <a:lstStyle/>
        <a:p>
          <a:endParaRPr lang="en-US"/>
        </a:p>
      </dgm:t>
    </dgm:pt>
    <dgm:pt modelId="{5F4734C5-B5CF-4FE9-B238-4E06735577CB}" type="pres">
      <dgm:prSet presAssocID="{08374802-1A2C-4A87-AD8F-B6851BAF3360}" presName="Name37" presStyleLbl="parChTrans1D4" presStyleIdx="6" presStyleCnt="7"/>
      <dgm:spPr/>
      <dgm:t>
        <a:bodyPr/>
        <a:lstStyle/>
        <a:p>
          <a:endParaRPr lang="en-US"/>
        </a:p>
      </dgm:t>
    </dgm:pt>
    <dgm:pt modelId="{53ED18FB-DD61-4FC0-BBFB-8471E9441BA8}" type="pres">
      <dgm:prSet presAssocID="{D4035FB3-675A-4748-9CFE-20C25CF44FE5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EAD12877-FF4B-4613-9AB9-975E4FB04C0F}" type="pres">
      <dgm:prSet presAssocID="{D4035FB3-675A-4748-9CFE-20C25CF44FE5}" presName="rootComposite" presStyleCnt="0"/>
      <dgm:spPr/>
      <dgm:t>
        <a:bodyPr/>
        <a:lstStyle/>
        <a:p>
          <a:endParaRPr lang="en-US"/>
        </a:p>
      </dgm:t>
    </dgm:pt>
    <dgm:pt modelId="{FDAB9EF4-76C4-48A1-91FB-3230EB6A752A}" type="pres">
      <dgm:prSet presAssocID="{D4035FB3-675A-4748-9CFE-20C25CF44FE5}" presName="rootText" presStyleLbl="node4" presStyleIdx="6" presStyleCnt="7" custScaleX="177156" custScaleY="64293" custLinFactNeighborX="6425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EF1B0DF-0020-4CD0-83E7-061B75E49C67}" type="pres">
      <dgm:prSet presAssocID="{D4035FB3-675A-4748-9CFE-20C25CF44FE5}" presName="rootConnector" presStyleLbl="node4" presStyleIdx="6" presStyleCnt="7"/>
      <dgm:spPr/>
      <dgm:t>
        <a:bodyPr/>
        <a:lstStyle/>
        <a:p>
          <a:endParaRPr lang="en-US"/>
        </a:p>
      </dgm:t>
    </dgm:pt>
    <dgm:pt modelId="{19A5F8E1-D1E3-4A67-95D2-26079A3AEF7F}" type="pres">
      <dgm:prSet presAssocID="{D4035FB3-675A-4748-9CFE-20C25CF44FE5}" presName="hierChild4" presStyleCnt="0"/>
      <dgm:spPr/>
      <dgm:t>
        <a:bodyPr/>
        <a:lstStyle/>
        <a:p>
          <a:endParaRPr lang="en-US"/>
        </a:p>
      </dgm:t>
    </dgm:pt>
    <dgm:pt modelId="{347B61F8-8A9A-44B6-AF55-49DC059DF1BF}" type="pres">
      <dgm:prSet presAssocID="{D4035FB3-675A-4748-9CFE-20C25CF44FE5}" presName="hierChild5" presStyleCnt="0"/>
      <dgm:spPr/>
      <dgm:t>
        <a:bodyPr/>
        <a:lstStyle/>
        <a:p>
          <a:endParaRPr lang="en-US"/>
        </a:p>
      </dgm:t>
    </dgm:pt>
    <dgm:pt modelId="{241A3A26-7221-457C-A512-E6A21C57F005}" type="pres">
      <dgm:prSet presAssocID="{7377930C-9048-4C75-A996-4B972DEB240F}" presName="hierChild5" presStyleCnt="0"/>
      <dgm:spPr/>
      <dgm:t>
        <a:bodyPr/>
        <a:lstStyle/>
        <a:p>
          <a:endParaRPr lang="en-US"/>
        </a:p>
      </dgm:t>
    </dgm:pt>
    <dgm:pt modelId="{528156B2-647C-44D5-ABAD-EBDCDF85B348}" type="pres">
      <dgm:prSet presAssocID="{1CE2D78B-C788-472A-8424-7F9A4AB5205E}" presName="hierChild5" presStyleCnt="0"/>
      <dgm:spPr/>
      <dgm:t>
        <a:bodyPr/>
        <a:lstStyle/>
        <a:p>
          <a:endParaRPr lang="en-US"/>
        </a:p>
      </dgm:t>
    </dgm:pt>
    <dgm:pt modelId="{B87F60ED-85BE-4872-BA6E-CDCB9CBDC6A3}" type="pres">
      <dgm:prSet presAssocID="{43BDC9E6-B3ED-4E11-B81F-A36F96CA06AD}" presName="hierChild3" presStyleCnt="0"/>
      <dgm:spPr/>
      <dgm:t>
        <a:bodyPr/>
        <a:lstStyle/>
        <a:p>
          <a:endParaRPr lang="en-US"/>
        </a:p>
      </dgm:t>
    </dgm:pt>
  </dgm:ptLst>
  <dgm:cxnLst>
    <dgm:cxn modelId="{34A823B8-506E-48E7-8AC6-DD5CF9EBFE8A}" type="presOf" srcId="{0216D3CF-84E5-4443-8082-6C6C297E9A4D}" destId="{CF9F174C-7D69-49F6-A7FE-7ED9990EB82A}" srcOrd="1" destOrd="0" presId="urn:microsoft.com/office/officeart/2005/8/layout/orgChart1"/>
    <dgm:cxn modelId="{C7B12242-93F1-42B1-8149-73B2BE7E9DC0}" srcId="{843E3B21-DC9F-4CF8-A7F1-93BF704E47A7}" destId="{720AE7B9-47AD-4FF9-8447-DF1B8C5FD193}" srcOrd="0" destOrd="0" parTransId="{3722DDF4-26E2-4422-A516-DEEAC3ECF65B}" sibTransId="{D7F902F3-F976-415B-98C3-59057320C539}"/>
    <dgm:cxn modelId="{2648CEB6-4DB9-42A6-B700-4831395E15AC}" srcId="{843E3B21-DC9F-4CF8-A7F1-93BF704E47A7}" destId="{7D7C3FA2-CE75-4B7D-A218-416906B8D917}" srcOrd="1" destOrd="0" parTransId="{14236E25-24F5-4DBC-8E23-FED5A30DEF0E}" sibTransId="{FB40D391-DB77-4C2C-BDCE-7A207CEAE6FE}"/>
    <dgm:cxn modelId="{466FA992-4DD7-4671-955C-003D51FDCA9F}" type="presOf" srcId="{453F9760-1876-428B-8CB6-DA8F60516D89}" destId="{1D4D3FE4-1739-4B3C-ACD2-597D18FBC50F}" srcOrd="0" destOrd="0" presId="urn:microsoft.com/office/officeart/2005/8/layout/orgChart1"/>
    <dgm:cxn modelId="{C491DF24-0E8C-4003-B506-017965803700}" type="presOf" srcId="{3EEFE082-C4FA-499A-BA01-E4B8217A4B73}" destId="{A3BC68A0-CABF-4126-884C-C90818E1E26E}" srcOrd="0" destOrd="0" presId="urn:microsoft.com/office/officeart/2005/8/layout/orgChart1"/>
    <dgm:cxn modelId="{91E626E8-9FBB-4B33-A94C-41F073E4B61A}" type="presOf" srcId="{843E3B21-DC9F-4CF8-A7F1-93BF704E47A7}" destId="{5E5C4910-D5C2-4117-9825-0F4E2308A1D4}" srcOrd="0" destOrd="0" presId="urn:microsoft.com/office/officeart/2005/8/layout/orgChart1"/>
    <dgm:cxn modelId="{6D08F777-496C-496A-BC56-1E25A0AD3FFC}" type="presOf" srcId="{D5C97393-61F4-42DF-B08C-C853AA352A39}" destId="{FE1ECB8B-3B17-4C2A-B0D6-F3E2F1F738C2}" srcOrd="0" destOrd="0" presId="urn:microsoft.com/office/officeart/2005/8/layout/orgChart1"/>
    <dgm:cxn modelId="{3FA3C882-86E7-404D-B9F2-5826670439EE}" type="presOf" srcId="{5393009C-F2AE-4FEB-A060-2EF8CA0E315B}" destId="{F6DF7D20-97CE-45B5-8272-1D8DFBF4322E}" srcOrd="0" destOrd="0" presId="urn:microsoft.com/office/officeart/2005/8/layout/orgChart1"/>
    <dgm:cxn modelId="{7E8A394C-0B32-41E9-BC7B-038412EB61D4}" srcId="{E420C67E-C4C2-476B-9B47-FFB47D587009}" destId="{CFEBB133-5D80-4E9D-815E-BA7E2B5804D2}" srcOrd="3" destOrd="0" parTransId="{6C5C9B86-7AAA-465B-98FF-E3F38189A3AE}" sibTransId="{7FDECB7D-540F-4AC8-A911-0EDE43878630}"/>
    <dgm:cxn modelId="{06E71150-3811-4FC5-8858-0203DD6C998E}" srcId="{E420C67E-C4C2-476B-9B47-FFB47D587009}" destId="{2F6572D1-3E4E-41CC-B816-15F6AA753750}" srcOrd="2" destOrd="0" parTransId="{453F9760-1876-428B-8CB6-DA8F60516D89}" sibTransId="{F36BC338-6ADD-4D27-8F50-A2943AF092AF}"/>
    <dgm:cxn modelId="{FD984FD4-3733-4869-BFED-14FB7F46F86E}" type="presOf" srcId="{F3C51EA5-D1CB-467E-8FC0-08A4E88508B8}" destId="{7D219183-9F73-4F55-B29C-C002A874E742}" srcOrd="0" destOrd="0" presId="urn:microsoft.com/office/officeart/2005/8/layout/orgChart1"/>
    <dgm:cxn modelId="{00915FF2-0696-4689-B222-EDDC7ACE7A84}" type="presOf" srcId="{6ED4E1AA-EFDD-4E70-836E-3DB36084DE98}" destId="{C137CAE9-66E1-459B-A733-9B53B02E07AF}" srcOrd="0" destOrd="0" presId="urn:microsoft.com/office/officeart/2005/8/layout/orgChart1"/>
    <dgm:cxn modelId="{E71AF1E1-4C69-44A5-B80C-430148FEB520}" srcId="{7377930C-9048-4C75-A996-4B972DEB240F}" destId="{93812BF0-8AD5-4A0C-BFE2-912B50E287D9}" srcOrd="4" destOrd="0" parTransId="{F3C51EA5-D1CB-467E-8FC0-08A4E88508B8}" sibTransId="{8A926D30-6501-46E8-AD95-88099FC59B9D}"/>
    <dgm:cxn modelId="{A1C11B26-A576-4B7F-A8D9-1419C3DE1D77}" type="presOf" srcId="{90833815-F732-45AF-B735-7A208BE16A8A}" destId="{8FF15CAA-9BF1-4437-B877-2B6831555847}" srcOrd="1" destOrd="0" presId="urn:microsoft.com/office/officeart/2005/8/layout/orgChart1"/>
    <dgm:cxn modelId="{2DC68D29-DB76-4298-AF0E-F70E802FAC6D}" type="presOf" srcId="{CFEBB133-5D80-4E9D-815E-BA7E2B5804D2}" destId="{F55C39B9-C17D-4782-B68D-D9F73AAEE095}" srcOrd="1" destOrd="0" presId="urn:microsoft.com/office/officeart/2005/8/layout/orgChart1"/>
    <dgm:cxn modelId="{E355D698-365C-4C99-8F1F-092F7D050594}" type="presOf" srcId="{90833815-F732-45AF-B735-7A208BE16A8A}" destId="{5D0F02D1-4A23-4B53-AF4F-3529BE69829E}" srcOrd="0" destOrd="0" presId="urn:microsoft.com/office/officeart/2005/8/layout/orgChart1"/>
    <dgm:cxn modelId="{2B0864C0-9A5F-4F6D-9C09-95C503A5D569}" type="presOf" srcId="{62301F5E-BDD5-4369-B9CF-5999FECA1C85}" destId="{FE10A4AF-D8A8-4F2D-9661-56E5DBB5B2C5}" srcOrd="0" destOrd="0" presId="urn:microsoft.com/office/officeart/2005/8/layout/orgChart1"/>
    <dgm:cxn modelId="{6819870F-3756-4090-BBF7-B53FCCE35577}" type="presOf" srcId="{A60BCA66-49BB-4275-9110-8B471B3FC59B}" destId="{28E82B1A-B1F2-4CC5-9B64-B60015CBF624}" srcOrd="0" destOrd="0" presId="urn:microsoft.com/office/officeart/2005/8/layout/orgChart1"/>
    <dgm:cxn modelId="{1B7A7662-68F3-4CD7-B8FB-0D7A188FFA69}" type="presOf" srcId="{5DB6D400-5209-470C-8913-531D6E5768B4}" destId="{7001C0C6-E80B-4DDC-8CC5-73BD56ED162E}" srcOrd="0" destOrd="0" presId="urn:microsoft.com/office/officeart/2005/8/layout/orgChart1"/>
    <dgm:cxn modelId="{D162BC75-5FBE-4D1F-8900-CF4E1AABEFF7}" type="presOf" srcId="{720AE7B9-47AD-4FF9-8447-DF1B8C5FD193}" destId="{1D0BA542-EABF-46D4-A11D-8954A50A4A27}" srcOrd="1" destOrd="0" presId="urn:microsoft.com/office/officeart/2005/8/layout/orgChart1"/>
    <dgm:cxn modelId="{CF855AF1-BD92-4E40-B99F-F5041ED66302}" type="presOf" srcId="{AD802413-175C-4187-B88C-5583163E329C}" destId="{B3F6E978-95D0-49EC-8802-EBBBC8209E5D}" srcOrd="0" destOrd="0" presId="urn:microsoft.com/office/officeart/2005/8/layout/orgChart1"/>
    <dgm:cxn modelId="{C9064E60-2AA0-4015-A9A1-46560AB9162B}" type="presOf" srcId="{7D7C3FA2-CE75-4B7D-A218-416906B8D917}" destId="{63F8734B-291F-4EE9-8AEC-5D7130065FE8}" srcOrd="1" destOrd="0" presId="urn:microsoft.com/office/officeart/2005/8/layout/orgChart1"/>
    <dgm:cxn modelId="{DDE34892-C2AA-4652-888C-FEAA880144FE}" type="presOf" srcId="{7D7C3FA2-CE75-4B7D-A218-416906B8D917}" destId="{A77E27D0-EFD7-495B-9E1A-5A5371B8AB84}" srcOrd="0" destOrd="0" presId="urn:microsoft.com/office/officeart/2005/8/layout/orgChart1"/>
    <dgm:cxn modelId="{C504ECFF-7646-4791-8FCD-771D9E2EF3E5}" type="presOf" srcId="{1CE2D78B-C788-472A-8424-7F9A4AB5205E}" destId="{6D7B6648-0B7F-4E1F-B6C5-CE0E2F04B9FF}" srcOrd="1" destOrd="0" presId="urn:microsoft.com/office/officeart/2005/8/layout/orgChart1"/>
    <dgm:cxn modelId="{54DF8955-0DCA-4942-8859-BC53ADCD99D5}" type="presOf" srcId="{36E557AF-1BC6-4838-B248-65E3AC06CD76}" destId="{AA0029C3-AE83-4316-8033-59A2BC4BA550}" srcOrd="0" destOrd="0" presId="urn:microsoft.com/office/officeart/2005/8/layout/orgChart1"/>
    <dgm:cxn modelId="{02AC6210-F43F-4A17-AF72-68C1775BA9F9}" type="presOf" srcId="{93812BF0-8AD5-4A0C-BFE2-912B50E287D9}" destId="{FCA045DB-109B-4BD9-8B5B-936265CC06EC}" srcOrd="0" destOrd="0" presId="urn:microsoft.com/office/officeart/2005/8/layout/orgChart1"/>
    <dgm:cxn modelId="{823C3DDD-4778-4A47-9CCF-05D1CAF70033}" srcId="{7377930C-9048-4C75-A996-4B972DEB240F}" destId="{73A0098F-31D8-453C-84FD-0E0CD7A87527}" srcOrd="3" destOrd="0" parTransId="{5393009C-F2AE-4FEB-A060-2EF8CA0E315B}" sibTransId="{16A80FE0-982B-4270-9C2E-D28AA7AD0DDC}"/>
    <dgm:cxn modelId="{E040E2E2-F016-4F82-9927-EA3D62DA0F57}" srcId="{A26E1133-27F8-42A1-91FE-23383B9ACC99}" destId="{43BDC9E6-B3ED-4E11-B81F-A36F96CA06AD}" srcOrd="0" destOrd="0" parTransId="{818B4425-229C-4D05-BD73-F2583AB7B9C5}" sibTransId="{A3D2AA9D-1D2C-45CA-9A99-0FD9E343747F}"/>
    <dgm:cxn modelId="{D2DB1E76-7AB8-47F8-9F0B-E4F9B5F34080}" type="presOf" srcId="{E420C67E-C4C2-476B-9B47-FFB47D587009}" destId="{F0ED6141-24DB-4164-A2D4-B51E750525CD}" srcOrd="0" destOrd="0" presId="urn:microsoft.com/office/officeart/2005/8/layout/orgChart1"/>
    <dgm:cxn modelId="{6AF3DBB4-7242-45BC-9FAC-06220876A74E}" type="presOf" srcId="{6C5C9B86-7AAA-465B-98FF-E3F38189A3AE}" destId="{3A94D9E8-C2A3-4765-9477-D710CC646957}" srcOrd="0" destOrd="0" presId="urn:microsoft.com/office/officeart/2005/8/layout/orgChart1"/>
    <dgm:cxn modelId="{CCB5AE26-70F4-4C5B-B53D-136E39A12AC5}" srcId="{7377930C-9048-4C75-A996-4B972DEB240F}" destId="{A240A1E1-162D-4A6E-A806-B6FF45B3AB68}" srcOrd="0" destOrd="0" parTransId="{F0BD47AB-7AC9-40A2-A96D-1A911EFDE7FF}" sibTransId="{A12D77FB-8453-4F78-A007-65AD68966259}"/>
    <dgm:cxn modelId="{EC5B9A93-14C1-4593-9EB9-2F4761D9C1F6}" type="presOf" srcId="{9275B05E-F520-4192-9B33-84AEEBC3F62D}" destId="{11628582-088E-42FA-B6EC-953F652565B0}" srcOrd="0" destOrd="0" presId="urn:microsoft.com/office/officeart/2005/8/layout/orgChart1"/>
    <dgm:cxn modelId="{F51689D1-5AF7-4BBB-84D0-2441CDF66354}" type="presOf" srcId="{35016019-1F0E-47A9-A9CB-AE98C0AFCFC1}" destId="{428A54D9-43F6-47B6-B3A2-FDCE09CB5A97}" srcOrd="0" destOrd="0" presId="urn:microsoft.com/office/officeart/2005/8/layout/orgChart1"/>
    <dgm:cxn modelId="{0D252A7C-EA88-478B-9AB7-96B65AE1E68A}" srcId="{43BDC9E6-B3ED-4E11-B81F-A36F96CA06AD}" destId="{1CE2D78B-C788-472A-8424-7F9A4AB5205E}" srcOrd="2" destOrd="0" parTransId="{6ED4E1AA-EFDD-4E70-836E-3DB36084DE98}" sibTransId="{1D0F051B-C9A8-457A-BE08-985EF4C28172}"/>
    <dgm:cxn modelId="{3A04A94E-9F86-4CA7-8C39-B080A74E51FA}" type="presOf" srcId="{A26E1133-27F8-42A1-91FE-23383B9ACC99}" destId="{E9F5810C-05C5-4937-8779-609DD6BD5CFD}" srcOrd="0" destOrd="0" presId="urn:microsoft.com/office/officeart/2005/8/layout/orgChart1"/>
    <dgm:cxn modelId="{93C18DCF-6401-4C24-8BE2-77B239018EAB}" srcId="{843E3B21-DC9F-4CF8-A7F1-93BF704E47A7}" destId="{E137C9BD-EE5B-476B-B7BA-BA0D9370FCFA}" srcOrd="3" destOrd="0" parTransId="{55D0A0DD-88B0-4C7C-A785-02AC2DD8AEFB}" sibTransId="{BCD31398-9148-4314-98D5-83D75352DBF9}"/>
    <dgm:cxn modelId="{A2125153-4B44-4997-8348-DB5183B28A5B}" type="presOf" srcId="{720AE7B9-47AD-4FF9-8447-DF1B8C5FD193}" destId="{1064D61A-5C37-497D-A6F5-6312AB6E3F5A}" srcOrd="0" destOrd="0" presId="urn:microsoft.com/office/officeart/2005/8/layout/orgChart1"/>
    <dgm:cxn modelId="{85A1D228-7017-4523-BEF1-E9656F25C368}" srcId="{1CE2D78B-C788-472A-8424-7F9A4AB5205E}" destId="{5DB6D400-5209-470C-8913-531D6E5768B4}" srcOrd="0" destOrd="0" parTransId="{AD802413-175C-4187-B88C-5583163E329C}" sibTransId="{AC3A72FE-B759-4DD8-A6DF-0B8F12118B8F}"/>
    <dgm:cxn modelId="{4801934D-38CF-4974-8EFF-924BE829773A}" type="presOf" srcId="{CFEBB133-5D80-4E9D-815E-BA7E2B5804D2}" destId="{50D60845-A14B-4DD0-8DB4-8B07FEB31A21}" srcOrd="0" destOrd="0" presId="urn:microsoft.com/office/officeart/2005/8/layout/orgChart1"/>
    <dgm:cxn modelId="{C5337D86-5BDD-4FA1-8FCE-21285E790D8D}" type="presOf" srcId="{9B931718-FC68-4B2E-9854-492BCFE6FE83}" destId="{700B55C8-272E-490B-AB5F-A5C6369E8C79}" srcOrd="1" destOrd="0" presId="urn:microsoft.com/office/officeart/2005/8/layout/orgChart1"/>
    <dgm:cxn modelId="{EA68C4C1-4693-4D9C-8437-5205D4C6C819}" type="presOf" srcId="{843E3B21-DC9F-4CF8-A7F1-93BF704E47A7}" destId="{AB22B6A5-BFAD-4E5F-BED0-C002FA69FEEF}" srcOrd="1" destOrd="0" presId="urn:microsoft.com/office/officeart/2005/8/layout/orgChart1"/>
    <dgm:cxn modelId="{21E4BC75-2EA3-43C0-ABFD-459CFC6B04CF}" type="presOf" srcId="{C3334397-F4C9-43FD-9DE7-786437A51BF8}" destId="{CC07306D-4BD7-4477-BB61-A954489058D6}" srcOrd="0" destOrd="0" presId="urn:microsoft.com/office/officeart/2005/8/layout/orgChart1"/>
    <dgm:cxn modelId="{D38A4E14-BAAD-4E12-9E42-41CB4A8C907C}" type="presOf" srcId="{7377930C-9048-4C75-A996-4B972DEB240F}" destId="{3F3A1C94-9E4D-49E6-8EF8-C7EE7891622E}" srcOrd="0" destOrd="0" presId="urn:microsoft.com/office/officeart/2005/8/layout/orgChart1"/>
    <dgm:cxn modelId="{7540792C-4C08-41AC-AE60-396B651F6F28}" type="presOf" srcId="{D4035FB3-675A-4748-9CFE-20C25CF44FE5}" destId="{FDAB9EF4-76C4-48A1-91FB-3230EB6A752A}" srcOrd="0" destOrd="0" presId="urn:microsoft.com/office/officeart/2005/8/layout/orgChart1"/>
    <dgm:cxn modelId="{2A3E34AC-2AAE-406E-9522-2F38803C2E4A}" type="presOf" srcId="{43BDC9E6-B3ED-4E11-B81F-A36F96CA06AD}" destId="{6EF86BC6-06CE-4768-9942-F4420543D5EE}" srcOrd="1" destOrd="0" presId="urn:microsoft.com/office/officeart/2005/8/layout/orgChart1"/>
    <dgm:cxn modelId="{2F15D87D-9D53-496A-9970-C98FFC84D9C9}" type="presOf" srcId="{7377930C-9048-4C75-A996-4B972DEB240F}" destId="{234EE0FE-32DB-46CB-83FB-2618232C53DD}" srcOrd="1" destOrd="0" presId="urn:microsoft.com/office/officeart/2005/8/layout/orgChart1"/>
    <dgm:cxn modelId="{DDEC49C8-F493-4E3F-9F39-2A8383EBB6FD}" type="presOf" srcId="{D4035FB3-675A-4748-9CFE-20C25CF44FE5}" destId="{5EF1B0DF-0020-4CD0-83E7-061B75E49C67}" srcOrd="1" destOrd="0" presId="urn:microsoft.com/office/officeart/2005/8/layout/orgChart1"/>
    <dgm:cxn modelId="{8ED71B61-DEF4-4E27-AB59-5508F9E14019}" type="presOf" srcId="{2F6572D1-3E4E-41CC-B816-15F6AA753750}" destId="{C3C99CCA-0A47-4420-ABC8-53654C0C3796}" srcOrd="1" destOrd="0" presId="urn:microsoft.com/office/officeart/2005/8/layout/orgChart1"/>
    <dgm:cxn modelId="{0E895D72-0904-4C53-8B0B-C6C5AB9F23C2}" type="presOf" srcId="{E420C67E-C4C2-476B-9B47-FFB47D587009}" destId="{45256018-C335-4CDB-9EC5-7AE2ABAC1E00}" srcOrd="1" destOrd="0" presId="urn:microsoft.com/office/officeart/2005/8/layout/orgChart1"/>
    <dgm:cxn modelId="{4EEDCCC1-8E76-45AE-BF63-8E29239FFDD9}" srcId="{7377930C-9048-4C75-A996-4B972DEB240F}" destId="{D4035FB3-675A-4748-9CFE-20C25CF44FE5}" srcOrd="5" destOrd="0" parTransId="{08374802-1A2C-4A87-AD8F-B6851BAF3360}" sibTransId="{FEB4F105-1C01-4F11-8FE5-35B2A0E502A1}"/>
    <dgm:cxn modelId="{22290A99-FBF2-4B85-B4F8-83637E62656D}" type="presOf" srcId="{359E2506-5D19-4F9C-8688-C666576175A9}" destId="{50C84909-550F-4BDC-8966-B86E5E1786AE}" srcOrd="0" destOrd="0" presId="urn:microsoft.com/office/officeart/2005/8/layout/orgChart1"/>
    <dgm:cxn modelId="{339CE312-526A-4E4C-B6CC-BC0BC9468F3E}" type="presOf" srcId="{E137C9BD-EE5B-476B-B7BA-BA0D9370FCFA}" destId="{BA6AC4DB-0F64-47C4-8289-FB0923B8558A}" srcOrd="0" destOrd="0" presId="urn:microsoft.com/office/officeart/2005/8/layout/orgChart1"/>
    <dgm:cxn modelId="{2AC6A1A2-FDAF-4C07-BF93-78DC05214544}" srcId="{43BDC9E6-B3ED-4E11-B81F-A36F96CA06AD}" destId="{E420C67E-C4C2-476B-9B47-FFB47D587009}" srcOrd="1" destOrd="0" parTransId="{65D088B7-B36E-49AA-84B9-2BC51B326EA1}" sibTransId="{7CC715FB-928E-4CFE-A8F5-045F16B2D743}"/>
    <dgm:cxn modelId="{87C0D443-E63D-4303-8F90-A61BAB6CCFED}" type="presOf" srcId="{08374802-1A2C-4A87-AD8F-B6851BAF3360}" destId="{5F4734C5-B5CF-4FE9-B238-4E06735577CB}" srcOrd="0" destOrd="0" presId="urn:microsoft.com/office/officeart/2005/8/layout/orgChart1"/>
    <dgm:cxn modelId="{13A3A5BE-8B7A-4DA1-9BED-396E5C48ECAD}" type="presOf" srcId="{3722DDF4-26E2-4422-A516-DEEAC3ECF65B}" destId="{A83ED5F7-10A0-45C9-B814-5804FA76917E}" srcOrd="0" destOrd="0" presId="urn:microsoft.com/office/officeart/2005/8/layout/orgChart1"/>
    <dgm:cxn modelId="{124B168F-FA86-434C-9AD4-794BC0536E2B}" type="presOf" srcId="{1CE2D78B-C788-472A-8424-7F9A4AB5205E}" destId="{A5F2589C-C16C-45F2-9A3D-F2A6CB2476D1}" srcOrd="0" destOrd="0" presId="urn:microsoft.com/office/officeart/2005/8/layout/orgChart1"/>
    <dgm:cxn modelId="{B4738584-CBF4-48AE-9FF2-B3B5B10BA6DD}" type="presOf" srcId="{49742260-F14F-4BCB-8D88-ADD2EB5024EC}" destId="{93507A0E-B606-4F7A-9C01-283769128FF2}" srcOrd="0" destOrd="0" presId="urn:microsoft.com/office/officeart/2005/8/layout/orgChart1"/>
    <dgm:cxn modelId="{E66B67A0-2EEC-4775-9F73-342629235234}" srcId="{5DB6D400-5209-470C-8913-531D6E5768B4}" destId="{AC89BCD7-10FF-48F4-86B9-8B80EB092E96}" srcOrd="0" destOrd="0" parTransId="{36E557AF-1BC6-4838-B248-65E3AC06CD76}" sibTransId="{1BE82171-A4CE-414A-8788-DAA9DF165BB9}"/>
    <dgm:cxn modelId="{191CE8A5-65E2-4737-B59B-E338866816AF}" srcId="{1CE2D78B-C788-472A-8424-7F9A4AB5205E}" destId="{7377930C-9048-4C75-A996-4B972DEB240F}" srcOrd="1" destOrd="0" parTransId="{D5C97393-61F4-42DF-B08C-C853AA352A39}" sibTransId="{CB07FCF4-3F4B-4710-B520-281079B11827}"/>
    <dgm:cxn modelId="{86670AEC-3C19-4309-917E-1C23C763613D}" type="presOf" srcId="{55D0A0DD-88B0-4C7C-A785-02AC2DD8AEFB}" destId="{CF00A05E-81E0-4C4F-9FC9-0B1D7BC7DE00}" srcOrd="0" destOrd="0" presId="urn:microsoft.com/office/officeart/2005/8/layout/orgChart1"/>
    <dgm:cxn modelId="{3C110BFF-FD87-473E-9985-0D9D761E60BD}" srcId="{43BDC9E6-B3ED-4E11-B81F-A36F96CA06AD}" destId="{843E3B21-DC9F-4CF8-A7F1-93BF704E47A7}" srcOrd="0" destOrd="0" parTransId="{3EEFE082-C4FA-499A-BA01-E4B8217A4B73}" sibTransId="{2992CB8F-FBF4-486F-BE86-7AEC96D28238}"/>
    <dgm:cxn modelId="{C52ADE42-8ACA-4D35-8ADF-C778875C5261}" type="presOf" srcId="{AC89BCD7-10FF-48F4-86B9-8B80EB092E96}" destId="{5089BE1A-3994-4C9F-969E-37FB46E97BA1}" srcOrd="1" destOrd="0" presId="urn:microsoft.com/office/officeart/2005/8/layout/orgChart1"/>
    <dgm:cxn modelId="{8F570E11-2D2C-48FC-B956-B4B022CE14C1}" type="presOf" srcId="{AC89BCD7-10FF-48F4-86B9-8B80EB092E96}" destId="{831720FA-D5E3-4C7F-A57E-CFE8CC23F338}" srcOrd="0" destOrd="0" presId="urn:microsoft.com/office/officeart/2005/8/layout/orgChart1"/>
    <dgm:cxn modelId="{29D0EC14-1EE5-43F2-B8DA-8A015159D525}" type="presOf" srcId="{73A0098F-31D8-453C-84FD-0E0CD7A87527}" destId="{F4864036-80FA-4A2E-B84D-CE2A3973B0C9}" srcOrd="1" destOrd="0" presId="urn:microsoft.com/office/officeart/2005/8/layout/orgChart1"/>
    <dgm:cxn modelId="{A630084D-67F8-48A7-9951-F46F3604D1B4}" srcId="{E420C67E-C4C2-476B-9B47-FFB47D587009}" destId="{90833815-F732-45AF-B735-7A208BE16A8A}" srcOrd="1" destOrd="0" parTransId="{62301F5E-BDD5-4369-B9CF-5999FECA1C85}" sibTransId="{7A88FAF5-FAAB-4848-B347-2B42AF8023FF}"/>
    <dgm:cxn modelId="{BBC837FC-8D0D-4AC4-981B-585C999F52DE}" type="presOf" srcId="{E137C9BD-EE5B-476B-B7BA-BA0D9370FCFA}" destId="{4D1BB766-10EA-42C1-95FD-C81A7C8A7741}" srcOrd="1" destOrd="0" presId="urn:microsoft.com/office/officeart/2005/8/layout/orgChart1"/>
    <dgm:cxn modelId="{9B2DA9E8-DAA9-4829-9620-91D37DF14DC9}" type="presOf" srcId="{43BDC9E6-B3ED-4E11-B81F-A36F96CA06AD}" destId="{1AD90FEA-3135-49C2-A3C0-CFEDDC6405B3}" srcOrd="0" destOrd="0" presId="urn:microsoft.com/office/officeart/2005/8/layout/orgChart1"/>
    <dgm:cxn modelId="{6E2E3B55-A6EB-46D7-B7D0-04629FD4C800}" srcId="{843E3B21-DC9F-4CF8-A7F1-93BF704E47A7}" destId="{9B931718-FC68-4B2E-9854-492BCFE6FE83}" srcOrd="2" destOrd="0" parTransId="{359E2506-5D19-4F9C-8688-C666576175A9}" sibTransId="{3113A228-1208-4305-91A0-AEEDFF54B5B2}"/>
    <dgm:cxn modelId="{0D7386FD-1CBB-4D51-8260-79A09F6ACDC4}" type="presOf" srcId="{5DB6D400-5209-470C-8913-531D6E5768B4}" destId="{78465CC3-BC40-4516-AF3E-4B9B5EA514A3}" srcOrd="1" destOrd="0" presId="urn:microsoft.com/office/officeart/2005/8/layout/orgChart1"/>
    <dgm:cxn modelId="{16AE7DC3-9B42-49A1-98F2-F8E7D3A3FD11}" type="presOf" srcId="{35016019-1F0E-47A9-A9CB-AE98C0AFCFC1}" destId="{31DAB6FE-4097-4695-9397-7DCCE262634B}" srcOrd="1" destOrd="0" presId="urn:microsoft.com/office/officeart/2005/8/layout/orgChart1"/>
    <dgm:cxn modelId="{186E50DD-CAF5-47EA-94F6-95F5E2C09565}" type="presOf" srcId="{14236E25-24F5-4DBC-8E23-FED5A30DEF0E}" destId="{A2B3E9C0-0CE1-4B88-9E71-F7CE1A7F99D7}" srcOrd="0" destOrd="0" presId="urn:microsoft.com/office/officeart/2005/8/layout/orgChart1"/>
    <dgm:cxn modelId="{D3C5F9EA-7DC7-49C8-A215-AE9DF8C5D8ED}" type="presOf" srcId="{0216D3CF-84E5-4443-8082-6C6C297E9A4D}" destId="{CBCDE87F-FA6C-44B8-A9C2-1E747BE7F736}" srcOrd="0" destOrd="0" presId="urn:microsoft.com/office/officeart/2005/8/layout/orgChart1"/>
    <dgm:cxn modelId="{A0E66910-A417-4433-846A-E364FADC3533}" srcId="{7377930C-9048-4C75-A996-4B972DEB240F}" destId="{49742260-F14F-4BCB-8D88-ADD2EB5024EC}" srcOrd="2" destOrd="0" parTransId="{9275B05E-F520-4192-9B33-84AEEBC3F62D}" sibTransId="{BDB94797-518D-4543-8D6F-13596FEC7A22}"/>
    <dgm:cxn modelId="{EF17C288-FABF-470A-9F6E-6F1AC60C08BE}" srcId="{E420C67E-C4C2-476B-9B47-FFB47D587009}" destId="{0216D3CF-84E5-4443-8082-6C6C297E9A4D}" srcOrd="0" destOrd="0" parTransId="{C3334397-F4C9-43FD-9DE7-786437A51BF8}" sibTransId="{9C27E3D0-AEBB-4C4C-AFEA-8F9AF608B21E}"/>
    <dgm:cxn modelId="{B9458BEE-D29C-4F41-9CE1-B7CF85630416}" type="presOf" srcId="{A240A1E1-162D-4A6E-A806-B6FF45B3AB68}" destId="{20C564F4-BF5C-4321-B86B-65391CEDEFC7}" srcOrd="1" destOrd="0" presId="urn:microsoft.com/office/officeart/2005/8/layout/orgChart1"/>
    <dgm:cxn modelId="{96532F63-72B2-4927-A36A-13A3CA911D84}" type="presOf" srcId="{2F6572D1-3E4E-41CC-B816-15F6AA753750}" destId="{7BABB840-5689-4566-85C9-55C4A127C4C6}" srcOrd="0" destOrd="0" presId="urn:microsoft.com/office/officeart/2005/8/layout/orgChart1"/>
    <dgm:cxn modelId="{43E06DC2-3DF3-463C-A828-AE00C7F3716C}" type="presOf" srcId="{F0BD47AB-7AC9-40A2-A96D-1A911EFDE7FF}" destId="{AEDC7120-FE6F-49D8-95F2-AB1B2B6AC9A8}" srcOrd="0" destOrd="0" presId="urn:microsoft.com/office/officeart/2005/8/layout/orgChart1"/>
    <dgm:cxn modelId="{48804501-499D-4859-A491-C7E0277A29A4}" type="presOf" srcId="{93812BF0-8AD5-4A0C-BFE2-912B50E287D9}" destId="{378EAE62-3892-406B-AF89-386FD429C653}" srcOrd="1" destOrd="0" presId="urn:microsoft.com/office/officeart/2005/8/layout/orgChart1"/>
    <dgm:cxn modelId="{9021B014-8164-488F-BF68-EC49E6D9ACB8}" type="presOf" srcId="{49742260-F14F-4BCB-8D88-ADD2EB5024EC}" destId="{FA7ED8CE-14CF-4D38-BE63-D19E93618025}" srcOrd="1" destOrd="0" presId="urn:microsoft.com/office/officeart/2005/8/layout/orgChart1"/>
    <dgm:cxn modelId="{F0C0AED6-3BFB-430A-84C4-C1842ECA49F1}" srcId="{7377930C-9048-4C75-A996-4B972DEB240F}" destId="{35016019-1F0E-47A9-A9CB-AE98C0AFCFC1}" srcOrd="1" destOrd="0" parTransId="{A60BCA66-49BB-4275-9110-8B471B3FC59B}" sibTransId="{549EC933-326F-43C6-A4AD-B0C6604A5CF9}"/>
    <dgm:cxn modelId="{24D673BB-5BD3-4EC7-85E1-AC754CFB94EE}" type="presOf" srcId="{A240A1E1-162D-4A6E-A806-B6FF45B3AB68}" destId="{6E033C69-6BA8-4812-AE4E-0022A986E944}" srcOrd="0" destOrd="0" presId="urn:microsoft.com/office/officeart/2005/8/layout/orgChart1"/>
    <dgm:cxn modelId="{05C8558E-FA2C-42EC-8A78-30E525CEA45A}" type="presOf" srcId="{73A0098F-31D8-453C-84FD-0E0CD7A87527}" destId="{B48C34C0-3268-4BDA-9392-41361EEA60C6}" srcOrd="0" destOrd="0" presId="urn:microsoft.com/office/officeart/2005/8/layout/orgChart1"/>
    <dgm:cxn modelId="{84138AF9-5DA9-462A-A34B-A5A1A189A5F7}" type="presOf" srcId="{65D088B7-B36E-49AA-84B9-2BC51B326EA1}" destId="{96956835-3386-449C-A89B-65F7C680246D}" srcOrd="0" destOrd="0" presId="urn:microsoft.com/office/officeart/2005/8/layout/orgChart1"/>
    <dgm:cxn modelId="{0C379C70-2EF1-41DA-8160-4786D72B32B8}" type="presOf" srcId="{9B931718-FC68-4B2E-9854-492BCFE6FE83}" destId="{984A4F3B-0A00-4E5A-9092-1922B8A7FAB3}" srcOrd="0" destOrd="0" presId="urn:microsoft.com/office/officeart/2005/8/layout/orgChart1"/>
    <dgm:cxn modelId="{C7FEC9E3-AF89-45C7-BB7C-2DA1D2BB4E41}" type="presParOf" srcId="{E9F5810C-05C5-4937-8779-609DD6BD5CFD}" destId="{25A00B3E-FEA8-439F-999E-8DB6BC95DBC0}" srcOrd="0" destOrd="0" presId="urn:microsoft.com/office/officeart/2005/8/layout/orgChart1"/>
    <dgm:cxn modelId="{F7F546B7-3567-421D-B7B1-9B4DA9CE0459}" type="presParOf" srcId="{25A00B3E-FEA8-439F-999E-8DB6BC95DBC0}" destId="{305CB9B7-E4C6-453D-AC39-1DA3FA25C576}" srcOrd="0" destOrd="0" presId="urn:microsoft.com/office/officeart/2005/8/layout/orgChart1"/>
    <dgm:cxn modelId="{A7AF7074-87C7-45DD-A676-0321380F247B}" type="presParOf" srcId="{305CB9B7-E4C6-453D-AC39-1DA3FA25C576}" destId="{1AD90FEA-3135-49C2-A3C0-CFEDDC6405B3}" srcOrd="0" destOrd="0" presId="urn:microsoft.com/office/officeart/2005/8/layout/orgChart1"/>
    <dgm:cxn modelId="{E71058FE-8DC5-414E-B9C6-87C5537317EC}" type="presParOf" srcId="{305CB9B7-E4C6-453D-AC39-1DA3FA25C576}" destId="{6EF86BC6-06CE-4768-9942-F4420543D5EE}" srcOrd="1" destOrd="0" presId="urn:microsoft.com/office/officeart/2005/8/layout/orgChart1"/>
    <dgm:cxn modelId="{745F8DF6-F4C8-4510-9127-4D792711DCE9}" type="presParOf" srcId="{25A00B3E-FEA8-439F-999E-8DB6BC95DBC0}" destId="{EC72B6B4-B63E-4FE2-8CC2-5FA221770366}" srcOrd="1" destOrd="0" presId="urn:microsoft.com/office/officeart/2005/8/layout/orgChart1"/>
    <dgm:cxn modelId="{223B0553-B89D-4DBE-B9D0-09A050D80C43}" type="presParOf" srcId="{EC72B6B4-B63E-4FE2-8CC2-5FA221770366}" destId="{A3BC68A0-CABF-4126-884C-C90818E1E26E}" srcOrd="0" destOrd="0" presId="urn:microsoft.com/office/officeart/2005/8/layout/orgChart1"/>
    <dgm:cxn modelId="{DC1CF2FC-00AD-4B4E-9CC4-5E35DA8B6C95}" type="presParOf" srcId="{EC72B6B4-B63E-4FE2-8CC2-5FA221770366}" destId="{9B84C5AA-6259-445A-8F7A-6D366FCBB4AD}" srcOrd="1" destOrd="0" presId="urn:microsoft.com/office/officeart/2005/8/layout/orgChart1"/>
    <dgm:cxn modelId="{24E540A1-A9E0-4364-8650-E01E1DAF30AB}" type="presParOf" srcId="{9B84C5AA-6259-445A-8F7A-6D366FCBB4AD}" destId="{F324FB99-E565-440D-9319-A2867DA87756}" srcOrd="0" destOrd="0" presId="urn:microsoft.com/office/officeart/2005/8/layout/orgChart1"/>
    <dgm:cxn modelId="{099B743F-E8E5-4352-A014-6108276A698E}" type="presParOf" srcId="{F324FB99-E565-440D-9319-A2867DA87756}" destId="{5E5C4910-D5C2-4117-9825-0F4E2308A1D4}" srcOrd="0" destOrd="0" presId="urn:microsoft.com/office/officeart/2005/8/layout/orgChart1"/>
    <dgm:cxn modelId="{165E7822-99CC-4BEF-A499-566DC8CA1696}" type="presParOf" srcId="{F324FB99-E565-440D-9319-A2867DA87756}" destId="{AB22B6A5-BFAD-4E5F-BED0-C002FA69FEEF}" srcOrd="1" destOrd="0" presId="urn:microsoft.com/office/officeart/2005/8/layout/orgChart1"/>
    <dgm:cxn modelId="{381C2400-3DDA-4DEC-8AB6-92FD6D3D119A}" type="presParOf" srcId="{9B84C5AA-6259-445A-8F7A-6D366FCBB4AD}" destId="{16186025-4BC6-46E2-97F6-F9084F02632D}" srcOrd="1" destOrd="0" presId="urn:microsoft.com/office/officeart/2005/8/layout/orgChart1"/>
    <dgm:cxn modelId="{96E83DEE-9439-4F9C-8E30-98ECA2F439CE}" type="presParOf" srcId="{16186025-4BC6-46E2-97F6-F9084F02632D}" destId="{A83ED5F7-10A0-45C9-B814-5804FA76917E}" srcOrd="0" destOrd="0" presId="urn:microsoft.com/office/officeart/2005/8/layout/orgChart1"/>
    <dgm:cxn modelId="{917E3874-0B7D-444E-93A3-771716863591}" type="presParOf" srcId="{16186025-4BC6-46E2-97F6-F9084F02632D}" destId="{D44CFE56-6231-4D51-BDF4-F9842887D455}" srcOrd="1" destOrd="0" presId="urn:microsoft.com/office/officeart/2005/8/layout/orgChart1"/>
    <dgm:cxn modelId="{6C860AB1-CC39-4CE0-96C0-F92BDFB13930}" type="presParOf" srcId="{D44CFE56-6231-4D51-BDF4-F9842887D455}" destId="{F340CB26-8421-44AC-9592-9BB7E87D96B8}" srcOrd="0" destOrd="0" presId="urn:microsoft.com/office/officeart/2005/8/layout/orgChart1"/>
    <dgm:cxn modelId="{8BBD8564-2294-46D8-B48B-ACA309762E1F}" type="presParOf" srcId="{F340CB26-8421-44AC-9592-9BB7E87D96B8}" destId="{1064D61A-5C37-497D-A6F5-6312AB6E3F5A}" srcOrd="0" destOrd="0" presId="urn:microsoft.com/office/officeart/2005/8/layout/orgChart1"/>
    <dgm:cxn modelId="{17F83E6E-F13B-4C4D-AAD9-523053AAF909}" type="presParOf" srcId="{F340CB26-8421-44AC-9592-9BB7E87D96B8}" destId="{1D0BA542-EABF-46D4-A11D-8954A50A4A27}" srcOrd="1" destOrd="0" presId="urn:microsoft.com/office/officeart/2005/8/layout/orgChart1"/>
    <dgm:cxn modelId="{57C933F6-06CA-44F0-A597-9D62D631A40F}" type="presParOf" srcId="{D44CFE56-6231-4D51-BDF4-F9842887D455}" destId="{CB5479DD-BB83-4A7F-A8FE-0204BBEBDE57}" srcOrd="1" destOrd="0" presId="urn:microsoft.com/office/officeart/2005/8/layout/orgChart1"/>
    <dgm:cxn modelId="{E160B251-E241-4303-B940-DB61B6C9AE6B}" type="presParOf" srcId="{D44CFE56-6231-4D51-BDF4-F9842887D455}" destId="{72F3B94E-5E2C-4DF9-BCD5-3D635951032C}" srcOrd="2" destOrd="0" presId="urn:microsoft.com/office/officeart/2005/8/layout/orgChart1"/>
    <dgm:cxn modelId="{09EB37C5-46AC-4CFF-812F-EA99734B3162}" type="presParOf" srcId="{16186025-4BC6-46E2-97F6-F9084F02632D}" destId="{A2B3E9C0-0CE1-4B88-9E71-F7CE1A7F99D7}" srcOrd="2" destOrd="0" presId="urn:microsoft.com/office/officeart/2005/8/layout/orgChart1"/>
    <dgm:cxn modelId="{F39E5750-C5E7-447C-AD09-2D59ABF0DD48}" type="presParOf" srcId="{16186025-4BC6-46E2-97F6-F9084F02632D}" destId="{16797127-63BB-4E8C-8005-5E72B3FF9B3C}" srcOrd="3" destOrd="0" presId="urn:microsoft.com/office/officeart/2005/8/layout/orgChart1"/>
    <dgm:cxn modelId="{5AD4A790-16DF-40C1-860B-52F1BF94A786}" type="presParOf" srcId="{16797127-63BB-4E8C-8005-5E72B3FF9B3C}" destId="{4DFEF789-40AF-4966-81EA-F7C1CBE52773}" srcOrd="0" destOrd="0" presId="urn:microsoft.com/office/officeart/2005/8/layout/orgChart1"/>
    <dgm:cxn modelId="{82E97B59-C202-4CC6-91E2-FC2CF3ECC3A1}" type="presParOf" srcId="{4DFEF789-40AF-4966-81EA-F7C1CBE52773}" destId="{A77E27D0-EFD7-495B-9E1A-5A5371B8AB84}" srcOrd="0" destOrd="0" presId="urn:microsoft.com/office/officeart/2005/8/layout/orgChart1"/>
    <dgm:cxn modelId="{D9AC6CEC-BE99-4B29-AD64-07D0D2A95BE6}" type="presParOf" srcId="{4DFEF789-40AF-4966-81EA-F7C1CBE52773}" destId="{63F8734B-291F-4EE9-8AEC-5D7130065FE8}" srcOrd="1" destOrd="0" presId="urn:microsoft.com/office/officeart/2005/8/layout/orgChart1"/>
    <dgm:cxn modelId="{276DE048-513A-4810-B6DF-7C26C711048C}" type="presParOf" srcId="{16797127-63BB-4E8C-8005-5E72B3FF9B3C}" destId="{F1241E53-1837-4666-9A60-B6AD42958195}" srcOrd="1" destOrd="0" presId="urn:microsoft.com/office/officeart/2005/8/layout/orgChart1"/>
    <dgm:cxn modelId="{40F38A1D-06CE-4E28-8BEC-2B6533271FB0}" type="presParOf" srcId="{16797127-63BB-4E8C-8005-5E72B3FF9B3C}" destId="{E1079AD2-0C8E-44F0-9596-6D504E6161CE}" srcOrd="2" destOrd="0" presId="urn:microsoft.com/office/officeart/2005/8/layout/orgChart1"/>
    <dgm:cxn modelId="{AF211D40-A397-4C11-911D-BC6DBA573AC6}" type="presParOf" srcId="{16186025-4BC6-46E2-97F6-F9084F02632D}" destId="{50C84909-550F-4BDC-8966-B86E5E1786AE}" srcOrd="4" destOrd="0" presId="urn:microsoft.com/office/officeart/2005/8/layout/orgChart1"/>
    <dgm:cxn modelId="{FE5804E5-9B26-4674-9C2B-EAA4B7457CE8}" type="presParOf" srcId="{16186025-4BC6-46E2-97F6-F9084F02632D}" destId="{EBCAC25B-3E97-4708-AA7E-0D44E4C06B2C}" srcOrd="5" destOrd="0" presId="urn:microsoft.com/office/officeart/2005/8/layout/orgChart1"/>
    <dgm:cxn modelId="{4C34BE3E-5EF5-42E5-A8AD-4418A1545F9A}" type="presParOf" srcId="{EBCAC25B-3E97-4708-AA7E-0D44E4C06B2C}" destId="{56A22D43-7DD1-46E6-B06A-D1D662EE6DAD}" srcOrd="0" destOrd="0" presId="urn:microsoft.com/office/officeart/2005/8/layout/orgChart1"/>
    <dgm:cxn modelId="{B01D9886-15F6-4BCB-AAAF-09534B3BE31D}" type="presParOf" srcId="{56A22D43-7DD1-46E6-B06A-D1D662EE6DAD}" destId="{984A4F3B-0A00-4E5A-9092-1922B8A7FAB3}" srcOrd="0" destOrd="0" presId="urn:microsoft.com/office/officeart/2005/8/layout/orgChart1"/>
    <dgm:cxn modelId="{16CE19A8-C5BC-4598-8EA2-D87103BBF795}" type="presParOf" srcId="{56A22D43-7DD1-46E6-B06A-D1D662EE6DAD}" destId="{700B55C8-272E-490B-AB5F-A5C6369E8C79}" srcOrd="1" destOrd="0" presId="urn:microsoft.com/office/officeart/2005/8/layout/orgChart1"/>
    <dgm:cxn modelId="{C808BE9E-DBD5-4AB1-9320-9A84CA6FAA63}" type="presParOf" srcId="{EBCAC25B-3E97-4708-AA7E-0D44E4C06B2C}" destId="{18D6C1B6-F902-4ABE-BB60-086B907C1C3A}" srcOrd="1" destOrd="0" presId="urn:microsoft.com/office/officeart/2005/8/layout/orgChart1"/>
    <dgm:cxn modelId="{03DA6CB4-9242-463F-970B-7865C7CEC3D8}" type="presParOf" srcId="{EBCAC25B-3E97-4708-AA7E-0D44E4C06B2C}" destId="{4E3F742A-A2F5-4971-A026-90DA3CFE956C}" srcOrd="2" destOrd="0" presId="urn:microsoft.com/office/officeart/2005/8/layout/orgChart1"/>
    <dgm:cxn modelId="{C4081EE8-6331-466D-B552-E72F10069B00}" type="presParOf" srcId="{16186025-4BC6-46E2-97F6-F9084F02632D}" destId="{CF00A05E-81E0-4C4F-9FC9-0B1D7BC7DE00}" srcOrd="6" destOrd="0" presId="urn:microsoft.com/office/officeart/2005/8/layout/orgChart1"/>
    <dgm:cxn modelId="{C28C8FD7-CEF0-4E51-AC8A-71A74EBEA2D7}" type="presParOf" srcId="{16186025-4BC6-46E2-97F6-F9084F02632D}" destId="{A00A133F-9C71-422B-B8D5-E1805943DC75}" srcOrd="7" destOrd="0" presId="urn:microsoft.com/office/officeart/2005/8/layout/orgChart1"/>
    <dgm:cxn modelId="{6C5C8277-5710-43EF-8AB3-C992E27866D0}" type="presParOf" srcId="{A00A133F-9C71-422B-B8D5-E1805943DC75}" destId="{B2A302CD-478F-47E1-BBE5-EDCA7054BF9D}" srcOrd="0" destOrd="0" presId="urn:microsoft.com/office/officeart/2005/8/layout/orgChart1"/>
    <dgm:cxn modelId="{1569D604-AE7F-411F-AF81-541E01D71ED9}" type="presParOf" srcId="{B2A302CD-478F-47E1-BBE5-EDCA7054BF9D}" destId="{BA6AC4DB-0F64-47C4-8289-FB0923B8558A}" srcOrd="0" destOrd="0" presId="urn:microsoft.com/office/officeart/2005/8/layout/orgChart1"/>
    <dgm:cxn modelId="{A05D30AE-F85B-44C6-9FD2-4C9020E52DC3}" type="presParOf" srcId="{B2A302CD-478F-47E1-BBE5-EDCA7054BF9D}" destId="{4D1BB766-10EA-42C1-95FD-C81A7C8A7741}" srcOrd="1" destOrd="0" presId="urn:microsoft.com/office/officeart/2005/8/layout/orgChart1"/>
    <dgm:cxn modelId="{E4C86CCC-A403-4FA3-8581-B5BF486D11EE}" type="presParOf" srcId="{A00A133F-9C71-422B-B8D5-E1805943DC75}" destId="{C0EE058C-ACBB-444C-AC89-E22EE759A819}" srcOrd="1" destOrd="0" presId="urn:microsoft.com/office/officeart/2005/8/layout/orgChart1"/>
    <dgm:cxn modelId="{B6710B61-EF52-4945-B0F2-DF2C7FC53A32}" type="presParOf" srcId="{A00A133F-9C71-422B-B8D5-E1805943DC75}" destId="{87AEEA8C-77A3-4494-BB33-3FA6A927D4FE}" srcOrd="2" destOrd="0" presId="urn:microsoft.com/office/officeart/2005/8/layout/orgChart1"/>
    <dgm:cxn modelId="{BF9DE5A5-00C4-4E71-8F4F-12013E516B32}" type="presParOf" srcId="{9B84C5AA-6259-445A-8F7A-6D366FCBB4AD}" destId="{82355405-192E-42E7-B905-7A6FE845C6D9}" srcOrd="2" destOrd="0" presId="urn:microsoft.com/office/officeart/2005/8/layout/orgChart1"/>
    <dgm:cxn modelId="{AD9CC41E-2BCC-4A5B-86D4-11074E1715A6}" type="presParOf" srcId="{EC72B6B4-B63E-4FE2-8CC2-5FA221770366}" destId="{96956835-3386-449C-A89B-65F7C680246D}" srcOrd="2" destOrd="0" presId="urn:microsoft.com/office/officeart/2005/8/layout/orgChart1"/>
    <dgm:cxn modelId="{A77D83BD-F70D-42DE-82D4-86E57F9D3034}" type="presParOf" srcId="{EC72B6B4-B63E-4FE2-8CC2-5FA221770366}" destId="{DBD72DFC-EF80-4973-B6E5-D3C9AB052F9E}" srcOrd="3" destOrd="0" presId="urn:microsoft.com/office/officeart/2005/8/layout/orgChart1"/>
    <dgm:cxn modelId="{88882361-A700-4A1C-BFFE-20A8E28D66F8}" type="presParOf" srcId="{DBD72DFC-EF80-4973-B6E5-D3C9AB052F9E}" destId="{72B31F8C-4060-4D82-8D0A-8A332812C464}" srcOrd="0" destOrd="0" presId="urn:microsoft.com/office/officeart/2005/8/layout/orgChart1"/>
    <dgm:cxn modelId="{8FB4B681-D118-4504-B42E-FA27F1FA0CF9}" type="presParOf" srcId="{72B31F8C-4060-4D82-8D0A-8A332812C464}" destId="{F0ED6141-24DB-4164-A2D4-B51E750525CD}" srcOrd="0" destOrd="0" presId="urn:microsoft.com/office/officeart/2005/8/layout/orgChart1"/>
    <dgm:cxn modelId="{7919F9F1-8568-4E7B-9171-A2023228CBDC}" type="presParOf" srcId="{72B31F8C-4060-4D82-8D0A-8A332812C464}" destId="{45256018-C335-4CDB-9EC5-7AE2ABAC1E00}" srcOrd="1" destOrd="0" presId="urn:microsoft.com/office/officeart/2005/8/layout/orgChart1"/>
    <dgm:cxn modelId="{7FEDEEFF-54D2-4222-9868-82B349C18D98}" type="presParOf" srcId="{DBD72DFC-EF80-4973-B6E5-D3C9AB052F9E}" destId="{2A7D3334-4741-4667-BCDB-1A78491B4FD4}" srcOrd="1" destOrd="0" presId="urn:microsoft.com/office/officeart/2005/8/layout/orgChart1"/>
    <dgm:cxn modelId="{27397285-9F4B-4561-98D3-3994C0A7815C}" type="presParOf" srcId="{2A7D3334-4741-4667-BCDB-1A78491B4FD4}" destId="{CC07306D-4BD7-4477-BB61-A954489058D6}" srcOrd="0" destOrd="0" presId="urn:microsoft.com/office/officeart/2005/8/layout/orgChart1"/>
    <dgm:cxn modelId="{D99D3A3E-D025-4D2A-A90A-77355BFF2A3E}" type="presParOf" srcId="{2A7D3334-4741-4667-BCDB-1A78491B4FD4}" destId="{0ECB6EE9-64D7-46FB-8A0A-B83CD370F0B4}" srcOrd="1" destOrd="0" presId="urn:microsoft.com/office/officeart/2005/8/layout/orgChart1"/>
    <dgm:cxn modelId="{C28BAF5C-EA06-442F-A5CE-D771F54AD336}" type="presParOf" srcId="{0ECB6EE9-64D7-46FB-8A0A-B83CD370F0B4}" destId="{9D96850F-E3A0-4435-B942-5F48B18AC5F4}" srcOrd="0" destOrd="0" presId="urn:microsoft.com/office/officeart/2005/8/layout/orgChart1"/>
    <dgm:cxn modelId="{F6F161BB-8180-49B9-969C-72538A7C9EC6}" type="presParOf" srcId="{9D96850F-E3A0-4435-B942-5F48B18AC5F4}" destId="{CBCDE87F-FA6C-44B8-A9C2-1E747BE7F736}" srcOrd="0" destOrd="0" presId="urn:microsoft.com/office/officeart/2005/8/layout/orgChart1"/>
    <dgm:cxn modelId="{CFD1F05A-0525-4554-A364-CDD476677087}" type="presParOf" srcId="{9D96850F-E3A0-4435-B942-5F48B18AC5F4}" destId="{CF9F174C-7D69-49F6-A7FE-7ED9990EB82A}" srcOrd="1" destOrd="0" presId="urn:microsoft.com/office/officeart/2005/8/layout/orgChart1"/>
    <dgm:cxn modelId="{A646F850-186F-468B-876A-FCE708BB1FBA}" type="presParOf" srcId="{0ECB6EE9-64D7-46FB-8A0A-B83CD370F0B4}" destId="{1934090D-CBAE-4AB8-9BE7-C9762145998D}" srcOrd="1" destOrd="0" presId="urn:microsoft.com/office/officeart/2005/8/layout/orgChart1"/>
    <dgm:cxn modelId="{C9B3FB6A-29CA-4F49-935C-8C58355D9E15}" type="presParOf" srcId="{0ECB6EE9-64D7-46FB-8A0A-B83CD370F0B4}" destId="{7BCCCAFF-8404-460B-9A5A-B8BF91057993}" srcOrd="2" destOrd="0" presId="urn:microsoft.com/office/officeart/2005/8/layout/orgChart1"/>
    <dgm:cxn modelId="{11072E95-3A18-4AF8-8A73-50EF0426408D}" type="presParOf" srcId="{2A7D3334-4741-4667-BCDB-1A78491B4FD4}" destId="{FE10A4AF-D8A8-4F2D-9661-56E5DBB5B2C5}" srcOrd="2" destOrd="0" presId="urn:microsoft.com/office/officeart/2005/8/layout/orgChart1"/>
    <dgm:cxn modelId="{49374147-66D3-4F96-82AA-BDDF61C78036}" type="presParOf" srcId="{2A7D3334-4741-4667-BCDB-1A78491B4FD4}" destId="{6E36B90A-357D-4409-934D-6F40EC568AE0}" srcOrd="3" destOrd="0" presId="urn:microsoft.com/office/officeart/2005/8/layout/orgChart1"/>
    <dgm:cxn modelId="{CE2628B5-DC6A-498E-81D2-D94A0EC51A7E}" type="presParOf" srcId="{6E36B90A-357D-4409-934D-6F40EC568AE0}" destId="{AB55976F-0A75-48BF-8621-9232364F260E}" srcOrd="0" destOrd="0" presId="urn:microsoft.com/office/officeart/2005/8/layout/orgChart1"/>
    <dgm:cxn modelId="{DCB41BE4-BF50-45E2-AA9F-4AEAA87C3C55}" type="presParOf" srcId="{AB55976F-0A75-48BF-8621-9232364F260E}" destId="{5D0F02D1-4A23-4B53-AF4F-3529BE69829E}" srcOrd="0" destOrd="0" presId="urn:microsoft.com/office/officeart/2005/8/layout/orgChart1"/>
    <dgm:cxn modelId="{ABEEAD86-6010-439E-B7CA-2C0BF3E04330}" type="presParOf" srcId="{AB55976F-0A75-48BF-8621-9232364F260E}" destId="{8FF15CAA-9BF1-4437-B877-2B6831555847}" srcOrd="1" destOrd="0" presId="urn:microsoft.com/office/officeart/2005/8/layout/orgChart1"/>
    <dgm:cxn modelId="{D086D326-3A6A-4159-8127-871EC2443FF5}" type="presParOf" srcId="{6E36B90A-357D-4409-934D-6F40EC568AE0}" destId="{8EE5665B-F21D-4DA6-A444-6C77DD3C6F95}" srcOrd="1" destOrd="0" presId="urn:microsoft.com/office/officeart/2005/8/layout/orgChart1"/>
    <dgm:cxn modelId="{CB3CD5E5-1546-4B4C-A04D-1B931F12BDD1}" type="presParOf" srcId="{6E36B90A-357D-4409-934D-6F40EC568AE0}" destId="{F1F43870-C4AC-4AF4-AB05-6A054FC06D63}" srcOrd="2" destOrd="0" presId="urn:microsoft.com/office/officeart/2005/8/layout/orgChart1"/>
    <dgm:cxn modelId="{1DA018FE-1207-4252-B6CA-B494F38CEC2F}" type="presParOf" srcId="{2A7D3334-4741-4667-BCDB-1A78491B4FD4}" destId="{1D4D3FE4-1739-4B3C-ACD2-597D18FBC50F}" srcOrd="4" destOrd="0" presId="urn:microsoft.com/office/officeart/2005/8/layout/orgChart1"/>
    <dgm:cxn modelId="{3E0BBF23-22FC-4CEE-8296-04AB59B35521}" type="presParOf" srcId="{2A7D3334-4741-4667-BCDB-1A78491B4FD4}" destId="{9115B6B6-EA79-4FE0-843B-D82CDE234246}" srcOrd="5" destOrd="0" presId="urn:microsoft.com/office/officeart/2005/8/layout/orgChart1"/>
    <dgm:cxn modelId="{3776AE3B-827A-448B-96EE-966AC71A93AB}" type="presParOf" srcId="{9115B6B6-EA79-4FE0-843B-D82CDE234246}" destId="{B54B6D9A-0CB7-42FF-A0FD-F2137F2080D7}" srcOrd="0" destOrd="0" presId="urn:microsoft.com/office/officeart/2005/8/layout/orgChart1"/>
    <dgm:cxn modelId="{80069B54-F53C-4550-9F10-46AA85D17E45}" type="presParOf" srcId="{B54B6D9A-0CB7-42FF-A0FD-F2137F2080D7}" destId="{7BABB840-5689-4566-85C9-55C4A127C4C6}" srcOrd="0" destOrd="0" presId="urn:microsoft.com/office/officeart/2005/8/layout/orgChart1"/>
    <dgm:cxn modelId="{AE68F47E-6ADC-4D6B-A33C-F22E70AA2A7E}" type="presParOf" srcId="{B54B6D9A-0CB7-42FF-A0FD-F2137F2080D7}" destId="{C3C99CCA-0A47-4420-ABC8-53654C0C3796}" srcOrd="1" destOrd="0" presId="urn:microsoft.com/office/officeart/2005/8/layout/orgChart1"/>
    <dgm:cxn modelId="{8D3EC6AE-1F12-479E-91CA-C3162C536C7C}" type="presParOf" srcId="{9115B6B6-EA79-4FE0-843B-D82CDE234246}" destId="{0D889D42-77FB-49A7-B6E8-3A8C670AFEAD}" srcOrd="1" destOrd="0" presId="urn:microsoft.com/office/officeart/2005/8/layout/orgChart1"/>
    <dgm:cxn modelId="{DB110C90-4FC6-43B4-AEBC-0A3DA00FB44E}" type="presParOf" srcId="{9115B6B6-EA79-4FE0-843B-D82CDE234246}" destId="{6BE4F57E-EC21-4523-B1EB-3AEDD24C4D44}" srcOrd="2" destOrd="0" presId="urn:microsoft.com/office/officeart/2005/8/layout/orgChart1"/>
    <dgm:cxn modelId="{BC09D091-9B83-4CD9-B2C9-E9AEE9E391A6}" type="presParOf" srcId="{2A7D3334-4741-4667-BCDB-1A78491B4FD4}" destId="{3A94D9E8-C2A3-4765-9477-D710CC646957}" srcOrd="6" destOrd="0" presId="urn:microsoft.com/office/officeart/2005/8/layout/orgChart1"/>
    <dgm:cxn modelId="{3B80C2F6-1175-4A55-BE7B-FE1364462FF3}" type="presParOf" srcId="{2A7D3334-4741-4667-BCDB-1A78491B4FD4}" destId="{2EAD44A1-134B-439B-87EC-257234921AE5}" srcOrd="7" destOrd="0" presId="urn:microsoft.com/office/officeart/2005/8/layout/orgChart1"/>
    <dgm:cxn modelId="{515F0A4C-8E3F-4413-9A28-DE0AC3A97ED5}" type="presParOf" srcId="{2EAD44A1-134B-439B-87EC-257234921AE5}" destId="{2FB73BF3-3C5D-4AD3-9D1C-8A589100FCB7}" srcOrd="0" destOrd="0" presId="urn:microsoft.com/office/officeart/2005/8/layout/orgChart1"/>
    <dgm:cxn modelId="{884DF1D2-32D4-4BB5-A84F-C0E75724E204}" type="presParOf" srcId="{2FB73BF3-3C5D-4AD3-9D1C-8A589100FCB7}" destId="{50D60845-A14B-4DD0-8DB4-8B07FEB31A21}" srcOrd="0" destOrd="0" presId="urn:microsoft.com/office/officeart/2005/8/layout/orgChart1"/>
    <dgm:cxn modelId="{875FD9D5-8208-444A-A95B-3F594A9FC231}" type="presParOf" srcId="{2FB73BF3-3C5D-4AD3-9D1C-8A589100FCB7}" destId="{F55C39B9-C17D-4782-B68D-D9F73AAEE095}" srcOrd="1" destOrd="0" presId="urn:microsoft.com/office/officeart/2005/8/layout/orgChart1"/>
    <dgm:cxn modelId="{3F40E4CA-C2EF-4ED7-8129-14C35AA35BE3}" type="presParOf" srcId="{2EAD44A1-134B-439B-87EC-257234921AE5}" destId="{FE161E8F-9C2C-4330-91D6-9E6A7C6F19FB}" srcOrd="1" destOrd="0" presId="urn:microsoft.com/office/officeart/2005/8/layout/orgChart1"/>
    <dgm:cxn modelId="{CA2D037A-CB32-496D-99C8-506C83443F83}" type="presParOf" srcId="{2EAD44A1-134B-439B-87EC-257234921AE5}" destId="{DCFA5C64-38E4-453B-BB1F-AE8ADB7F8B50}" srcOrd="2" destOrd="0" presId="urn:microsoft.com/office/officeart/2005/8/layout/orgChart1"/>
    <dgm:cxn modelId="{4597DD20-F186-4DC5-8DB6-BF269E70AE82}" type="presParOf" srcId="{DBD72DFC-EF80-4973-B6E5-D3C9AB052F9E}" destId="{1DBB8D6B-1EA9-448A-B87B-A162873E7B21}" srcOrd="2" destOrd="0" presId="urn:microsoft.com/office/officeart/2005/8/layout/orgChart1"/>
    <dgm:cxn modelId="{6FD543E0-A9B7-4F62-B95C-58B76B5A1878}" type="presParOf" srcId="{EC72B6B4-B63E-4FE2-8CC2-5FA221770366}" destId="{C137CAE9-66E1-459B-A733-9B53B02E07AF}" srcOrd="4" destOrd="0" presId="urn:microsoft.com/office/officeart/2005/8/layout/orgChart1"/>
    <dgm:cxn modelId="{E1F3959F-B2D8-44E1-B852-BEF3DA368854}" type="presParOf" srcId="{EC72B6B4-B63E-4FE2-8CC2-5FA221770366}" destId="{35CBA655-D40F-4A2B-B71A-711D392B5A84}" srcOrd="5" destOrd="0" presId="urn:microsoft.com/office/officeart/2005/8/layout/orgChart1"/>
    <dgm:cxn modelId="{94EDCA47-6544-4674-8B24-862BD2775235}" type="presParOf" srcId="{35CBA655-D40F-4A2B-B71A-711D392B5A84}" destId="{9DC86AED-B6DB-4100-9EA0-4E60FFB4A367}" srcOrd="0" destOrd="0" presId="urn:microsoft.com/office/officeart/2005/8/layout/orgChart1"/>
    <dgm:cxn modelId="{C01996D0-DB0E-41E6-ABC6-3085988120D0}" type="presParOf" srcId="{9DC86AED-B6DB-4100-9EA0-4E60FFB4A367}" destId="{A5F2589C-C16C-45F2-9A3D-F2A6CB2476D1}" srcOrd="0" destOrd="0" presId="urn:microsoft.com/office/officeart/2005/8/layout/orgChart1"/>
    <dgm:cxn modelId="{1A3318C6-1CA6-43ED-A82E-22ACD20A94C5}" type="presParOf" srcId="{9DC86AED-B6DB-4100-9EA0-4E60FFB4A367}" destId="{6D7B6648-0B7F-4E1F-B6C5-CE0E2F04B9FF}" srcOrd="1" destOrd="0" presId="urn:microsoft.com/office/officeart/2005/8/layout/orgChart1"/>
    <dgm:cxn modelId="{EAD83BC1-FACF-4145-A36F-D9E4438E937E}" type="presParOf" srcId="{35CBA655-D40F-4A2B-B71A-711D392B5A84}" destId="{29CE8073-D253-4588-B954-7167D33B1947}" srcOrd="1" destOrd="0" presId="urn:microsoft.com/office/officeart/2005/8/layout/orgChart1"/>
    <dgm:cxn modelId="{E4D1D1C4-1B48-4850-A8A9-2A9862487410}" type="presParOf" srcId="{29CE8073-D253-4588-B954-7167D33B1947}" destId="{B3F6E978-95D0-49EC-8802-EBBBC8209E5D}" srcOrd="0" destOrd="0" presId="urn:microsoft.com/office/officeart/2005/8/layout/orgChart1"/>
    <dgm:cxn modelId="{6B9163FF-DFBB-4184-90A6-898149BE299C}" type="presParOf" srcId="{29CE8073-D253-4588-B954-7167D33B1947}" destId="{276A0FE5-E7C9-47B9-8661-6ECAE19E3FD7}" srcOrd="1" destOrd="0" presId="urn:microsoft.com/office/officeart/2005/8/layout/orgChart1"/>
    <dgm:cxn modelId="{1FFE0D8E-C3D3-4032-8DD3-7E8C9B1A1367}" type="presParOf" srcId="{276A0FE5-E7C9-47B9-8661-6ECAE19E3FD7}" destId="{2372BFBF-82AB-4A73-8A41-95810696B160}" srcOrd="0" destOrd="0" presId="urn:microsoft.com/office/officeart/2005/8/layout/orgChart1"/>
    <dgm:cxn modelId="{35EF04DC-AA7F-477D-9602-0CE41FAEF5B6}" type="presParOf" srcId="{2372BFBF-82AB-4A73-8A41-95810696B160}" destId="{7001C0C6-E80B-4DDC-8CC5-73BD56ED162E}" srcOrd="0" destOrd="0" presId="urn:microsoft.com/office/officeart/2005/8/layout/orgChart1"/>
    <dgm:cxn modelId="{12C79C4D-FB0D-4F8A-A0C3-14BE054BD907}" type="presParOf" srcId="{2372BFBF-82AB-4A73-8A41-95810696B160}" destId="{78465CC3-BC40-4516-AF3E-4B9B5EA514A3}" srcOrd="1" destOrd="0" presId="urn:microsoft.com/office/officeart/2005/8/layout/orgChart1"/>
    <dgm:cxn modelId="{6874835A-CDA9-447F-9D6A-464D830992C8}" type="presParOf" srcId="{276A0FE5-E7C9-47B9-8661-6ECAE19E3FD7}" destId="{2ACB19F8-E47E-46C1-9102-6CCC1FE98B0B}" srcOrd="1" destOrd="0" presId="urn:microsoft.com/office/officeart/2005/8/layout/orgChart1"/>
    <dgm:cxn modelId="{3AAAC835-75C7-4CD1-BEBD-6B5CA0734221}" type="presParOf" srcId="{2ACB19F8-E47E-46C1-9102-6CCC1FE98B0B}" destId="{AA0029C3-AE83-4316-8033-59A2BC4BA550}" srcOrd="0" destOrd="0" presId="urn:microsoft.com/office/officeart/2005/8/layout/orgChart1"/>
    <dgm:cxn modelId="{4D02BA03-BF3A-4B97-9C47-892F0616E406}" type="presParOf" srcId="{2ACB19F8-E47E-46C1-9102-6CCC1FE98B0B}" destId="{66D40A80-ECE6-4BA4-AEB0-7BE715E532FF}" srcOrd="1" destOrd="0" presId="urn:microsoft.com/office/officeart/2005/8/layout/orgChart1"/>
    <dgm:cxn modelId="{DC4D6C1D-0473-418F-9B5D-6D2E238334F3}" type="presParOf" srcId="{66D40A80-ECE6-4BA4-AEB0-7BE715E532FF}" destId="{BD6C599A-8ECA-4506-9EEE-87D329EC289D}" srcOrd="0" destOrd="0" presId="urn:microsoft.com/office/officeart/2005/8/layout/orgChart1"/>
    <dgm:cxn modelId="{581B1F82-77B9-47C3-9575-F111F0112D3E}" type="presParOf" srcId="{BD6C599A-8ECA-4506-9EEE-87D329EC289D}" destId="{831720FA-D5E3-4C7F-A57E-CFE8CC23F338}" srcOrd="0" destOrd="0" presId="urn:microsoft.com/office/officeart/2005/8/layout/orgChart1"/>
    <dgm:cxn modelId="{F2B30423-7BD5-48AA-A105-7F5A0A5C2D3C}" type="presParOf" srcId="{BD6C599A-8ECA-4506-9EEE-87D329EC289D}" destId="{5089BE1A-3994-4C9F-969E-37FB46E97BA1}" srcOrd="1" destOrd="0" presId="urn:microsoft.com/office/officeart/2005/8/layout/orgChart1"/>
    <dgm:cxn modelId="{BA955287-0CB9-4A4F-BFE6-234BCC3A861D}" type="presParOf" srcId="{66D40A80-ECE6-4BA4-AEB0-7BE715E532FF}" destId="{4E451FF5-83EC-4EF3-AF81-8339105D5D35}" srcOrd="1" destOrd="0" presId="urn:microsoft.com/office/officeart/2005/8/layout/orgChart1"/>
    <dgm:cxn modelId="{CA9537D4-A8AE-436F-B637-32D2E78235A2}" type="presParOf" srcId="{66D40A80-ECE6-4BA4-AEB0-7BE715E532FF}" destId="{019C3773-D875-4308-8D65-988AD5B67A69}" srcOrd="2" destOrd="0" presId="urn:microsoft.com/office/officeart/2005/8/layout/orgChart1"/>
    <dgm:cxn modelId="{6178BB41-C617-4519-83AB-8057001459B3}" type="presParOf" srcId="{276A0FE5-E7C9-47B9-8661-6ECAE19E3FD7}" destId="{F13CBE1E-B3C0-4B69-A417-49CBD85143BB}" srcOrd="2" destOrd="0" presId="urn:microsoft.com/office/officeart/2005/8/layout/orgChart1"/>
    <dgm:cxn modelId="{47E27881-4CDB-4884-A9A4-00AC93D185E4}" type="presParOf" srcId="{29CE8073-D253-4588-B954-7167D33B1947}" destId="{FE1ECB8B-3B17-4C2A-B0D6-F3E2F1F738C2}" srcOrd="2" destOrd="0" presId="urn:microsoft.com/office/officeart/2005/8/layout/orgChart1"/>
    <dgm:cxn modelId="{767437A8-8844-4D6C-9694-7B82F12BDCF5}" type="presParOf" srcId="{29CE8073-D253-4588-B954-7167D33B1947}" destId="{719FFAF0-57A0-46B9-94BC-A6EDF55A6D11}" srcOrd="3" destOrd="0" presId="urn:microsoft.com/office/officeart/2005/8/layout/orgChart1"/>
    <dgm:cxn modelId="{1BFF765F-22A0-4BA3-BD8D-E7483DEA1C07}" type="presParOf" srcId="{719FFAF0-57A0-46B9-94BC-A6EDF55A6D11}" destId="{02466CFC-4DF1-4A06-A20F-FE2F097B764C}" srcOrd="0" destOrd="0" presId="urn:microsoft.com/office/officeart/2005/8/layout/orgChart1"/>
    <dgm:cxn modelId="{7985065D-74BD-40B1-97AC-B31A7F064863}" type="presParOf" srcId="{02466CFC-4DF1-4A06-A20F-FE2F097B764C}" destId="{3F3A1C94-9E4D-49E6-8EF8-C7EE7891622E}" srcOrd="0" destOrd="0" presId="urn:microsoft.com/office/officeart/2005/8/layout/orgChart1"/>
    <dgm:cxn modelId="{F32DA6CA-E7D4-4A53-90A8-026A3C03A27D}" type="presParOf" srcId="{02466CFC-4DF1-4A06-A20F-FE2F097B764C}" destId="{234EE0FE-32DB-46CB-83FB-2618232C53DD}" srcOrd="1" destOrd="0" presId="urn:microsoft.com/office/officeart/2005/8/layout/orgChart1"/>
    <dgm:cxn modelId="{4722418C-0DE9-41A9-8E42-63C4BEEEBF6A}" type="presParOf" srcId="{719FFAF0-57A0-46B9-94BC-A6EDF55A6D11}" destId="{52CDB310-5623-48FC-A23E-3FDCA04F494F}" srcOrd="1" destOrd="0" presId="urn:microsoft.com/office/officeart/2005/8/layout/orgChart1"/>
    <dgm:cxn modelId="{012A5316-ED11-4446-B650-F95199822816}" type="presParOf" srcId="{52CDB310-5623-48FC-A23E-3FDCA04F494F}" destId="{AEDC7120-FE6F-49D8-95F2-AB1B2B6AC9A8}" srcOrd="0" destOrd="0" presId="urn:microsoft.com/office/officeart/2005/8/layout/orgChart1"/>
    <dgm:cxn modelId="{2952C2FB-38C5-4876-830E-F7A7F1454BF3}" type="presParOf" srcId="{52CDB310-5623-48FC-A23E-3FDCA04F494F}" destId="{F65159AB-B6AE-4C58-BE85-DB4966F15FBA}" srcOrd="1" destOrd="0" presId="urn:microsoft.com/office/officeart/2005/8/layout/orgChart1"/>
    <dgm:cxn modelId="{E743659E-BDCE-48CF-BC91-ECD087F764BC}" type="presParOf" srcId="{F65159AB-B6AE-4C58-BE85-DB4966F15FBA}" destId="{4413A7CD-B07B-4481-95F7-63264BEB8326}" srcOrd="0" destOrd="0" presId="urn:microsoft.com/office/officeart/2005/8/layout/orgChart1"/>
    <dgm:cxn modelId="{F0D7B0C0-9BDB-4CE3-81D0-695DE9D7A5AF}" type="presParOf" srcId="{4413A7CD-B07B-4481-95F7-63264BEB8326}" destId="{6E033C69-6BA8-4812-AE4E-0022A986E944}" srcOrd="0" destOrd="0" presId="urn:microsoft.com/office/officeart/2005/8/layout/orgChart1"/>
    <dgm:cxn modelId="{AF605861-A6AC-4327-9496-66AC9051A462}" type="presParOf" srcId="{4413A7CD-B07B-4481-95F7-63264BEB8326}" destId="{20C564F4-BF5C-4321-B86B-65391CEDEFC7}" srcOrd="1" destOrd="0" presId="urn:microsoft.com/office/officeart/2005/8/layout/orgChart1"/>
    <dgm:cxn modelId="{0B57BBFF-19F8-44A3-94FA-7DF5025001D3}" type="presParOf" srcId="{F65159AB-B6AE-4C58-BE85-DB4966F15FBA}" destId="{7C0A51FE-5187-4FBA-A9F6-DFFAA1B3DD3E}" srcOrd="1" destOrd="0" presId="urn:microsoft.com/office/officeart/2005/8/layout/orgChart1"/>
    <dgm:cxn modelId="{F66AF66A-F444-4CCF-B364-DE8C7EA909CA}" type="presParOf" srcId="{F65159AB-B6AE-4C58-BE85-DB4966F15FBA}" destId="{A5F1F6CB-B812-4FEA-ACD0-E838992C8274}" srcOrd="2" destOrd="0" presId="urn:microsoft.com/office/officeart/2005/8/layout/orgChart1"/>
    <dgm:cxn modelId="{66B0405E-BDBB-437B-A7BE-7918841C7720}" type="presParOf" srcId="{52CDB310-5623-48FC-A23E-3FDCA04F494F}" destId="{28E82B1A-B1F2-4CC5-9B64-B60015CBF624}" srcOrd="2" destOrd="0" presId="urn:microsoft.com/office/officeart/2005/8/layout/orgChart1"/>
    <dgm:cxn modelId="{96FDE094-23B2-4B0D-989F-AAFA3C35DBAD}" type="presParOf" srcId="{52CDB310-5623-48FC-A23E-3FDCA04F494F}" destId="{B22DAA2B-22C5-4EFA-A0A6-9AD0235D2103}" srcOrd="3" destOrd="0" presId="urn:microsoft.com/office/officeart/2005/8/layout/orgChart1"/>
    <dgm:cxn modelId="{A489138F-B67E-45D9-98BB-A555CC8C4B4A}" type="presParOf" srcId="{B22DAA2B-22C5-4EFA-A0A6-9AD0235D2103}" destId="{514CA667-AA27-4D37-9311-1D5D85EF643D}" srcOrd="0" destOrd="0" presId="urn:microsoft.com/office/officeart/2005/8/layout/orgChart1"/>
    <dgm:cxn modelId="{C26FF0E8-C1E3-4C6D-B0FA-B8223762FD56}" type="presParOf" srcId="{514CA667-AA27-4D37-9311-1D5D85EF643D}" destId="{428A54D9-43F6-47B6-B3A2-FDCE09CB5A97}" srcOrd="0" destOrd="0" presId="urn:microsoft.com/office/officeart/2005/8/layout/orgChart1"/>
    <dgm:cxn modelId="{B89E0971-53DD-41BE-8F48-C3D155F16495}" type="presParOf" srcId="{514CA667-AA27-4D37-9311-1D5D85EF643D}" destId="{31DAB6FE-4097-4695-9397-7DCCE262634B}" srcOrd="1" destOrd="0" presId="urn:microsoft.com/office/officeart/2005/8/layout/orgChart1"/>
    <dgm:cxn modelId="{500E32FF-18B6-46D7-A258-562F7E462321}" type="presParOf" srcId="{B22DAA2B-22C5-4EFA-A0A6-9AD0235D2103}" destId="{F4CC167B-F2F2-455C-9A45-823F18AFEF9A}" srcOrd="1" destOrd="0" presId="urn:microsoft.com/office/officeart/2005/8/layout/orgChart1"/>
    <dgm:cxn modelId="{26111FF7-BA30-4636-84D9-2401227E7A19}" type="presParOf" srcId="{B22DAA2B-22C5-4EFA-A0A6-9AD0235D2103}" destId="{A5D0575B-48E0-4A98-88E8-8B4961A6F762}" srcOrd="2" destOrd="0" presId="urn:microsoft.com/office/officeart/2005/8/layout/orgChart1"/>
    <dgm:cxn modelId="{3257A9E8-2B06-498D-B5BC-938EBA058B09}" type="presParOf" srcId="{52CDB310-5623-48FC-A23E-3FDCA04F494F}" destId="{11628582-088E-42FA-B6EC-953F652565B0}" srcOrd="4" destOrd="0" presId="urn:microsoft.com/office/officeart/2005/8/layout/orgChart1"/>
    <dgm:cxn modelId="{FF3AA753-15FF-4254-B770-D053CA49A2E2}" type="presParOf" srcId="{52CDB310-5623-48FC-A23E-3FDCA04F494F}" destId="{7E6CA653-D7FD-4B20-AE44-C1F44E30C01B}" srcOrd="5" destOrd="0" presId="urn:microsoft.com/office/officeart/2005/8/layout/orgChart1"/>
    <dgm:cxn modelId="{77DD72F5-C938-4086-934C-BC4AB4D514E1}" type="presParOf" srcId="{7E6CA653-D7FD-4B20-AE44-C1F44E30C01B}" destId="{E179F35A-A640-480A-9C40-3D39813B5DA3}" srcOrd="0" destOrd="0" presId="urn:microsoft.com/office/officeart/2005/8/layout/orgChart1"/>
    <dgm:cxn modelId="{294E041E-3029-4E9B-9B66-0F2F0C2342B2}" type="presParOf" srcId="{E179F35A-A640-480A-9C40-3D39813B5DA3}" destId="{93507A0E-B606-4F7A-9C01-283769128FF2}" srcOrd="0" destOrd="0" presId="urn:microsoft.com/office/officeart/2005/8/layout/orgChart1"/>
    <dgm:cxn modelId="{D0FE5475-FA2C-4451-AAE9-208762EDD16C}" type="presParOf" srcId="{E179F35A-A640-480A-9C40-3D39813B5DA3}" destId="{FA7ED8CE-14CF-4D38-BE63-D19E93618025}" srcOrd="1" destOrd="0" presId="urn:microsoft.com/office/officeart/2005/8/layout/orgChart1"/>
    <dgm:cxn modelId="{2EC02026-B815-478C-8176-DA75D262A85B}" type="presParOf" srcId="{7E6CA653-D7FD-4B20-AE44-C1F44E30C01B}" destId="{D06BFE77-47E2-4E99-9240-F26F88BFBEAB}" srcOrd="1" destOrd="0" presId="urn:microsoft.com/office/officeart/2005/8/layout/orgChart1"/>
    <dgm:cxn modelId="{594AF0F4-C2CC-4A1F-B547-48B97D09243C}" type="presParOf" srcId="{7E6CA653-D7FD-4B20-AE44-C1F44E30C01B}" destId="{801CA00E-B2B0-4EC5-9889-E9E28C332373}" srcOrd="2" destOrd="0" presId="urn:microsoft.com/office/officeart/2005/8/layout/orgChart1"/>
    <dgm:cxn modelId="{5604B2E4-4809-4179-A79E-8F41E97FAEBE}" type="presParOf" srcId="{52CDB310-5623-48FC-A23E-3FDCA04F494F}" destId="{F6DF7D20-97CE-45B5-8272-1D8DFBF4322E}" srcOrd="6" destOrd="0" presId="urn:microsoft.com/office/officeart/2005/8/layout/orgChart1"/>
    <dgm:cxn modelId="{47E946C5-9916-40DB-8D06-D3C44067A303}" type="presParOf" srcId="{52CDB310-5623-48FC-A23E-3FDCA04F494F}" destId="{33DF2477-EB85-4B7E-BFD1-431DD797052F}" srcOrd="7" destOrd="0" presId="urn:microsoft.com/office/officeart/2005/8/layout/orgChart1"/>
    <dgm:cxn modelId="{2CBECFCC-000C-4120-B582-40AB7CA9A044}" type="presParOf" srcId="{33DF2477-EB85-4B7E-BFD1-431DD797052F}" destId="{981C2610-43E5-46F5-91D9-212743DD34A5}" srcOrd="0" destOrd="0" presId="urn:microsoft.com/office/officeart/2005/8/layout/orgChart1"/>
    <dgm:cxn modelId="{DEBF413C-88A0-4E51-98D7-C242E1F4DEB4}" type="presParOf" srcId="{981C2610-43E5-46F5-91D9-212743DD34A5}" destId="{B48C34C0-3268-4BDA-9392-41361EEA60C6}" srcOrd="0" destOrd="0" presId="urn:microsoft.com/office/officeart/2005/8/layout/orgChart1"/>
    <dgm:cxn modelId="{48FDA580-4822-4828-8D53-A6AEB6B9C347}" type="presParOf" srcId="{981C2610-43E5-46F5-91D9-212743DD34A5}" destId="{F4864036-80FA-4A2E-B84D-CE2A3973B0C9}" srcOrd="1" destOrd="0" presId="urn:microsoft.com/office/officeart/2005/8/layout/orgChart1"/>
    <dgm:cxn modelId="{7A5C0DE2-BD07-43A2-9692-421804D61D8C}" type="presParOf" srcId="{33DF2477-EB85-4B7E-BFD1-431DD797052F}" destId="{7DAFD94E-7849-48EA-9120-080EB3D68BB6}" srcOrd="1" destOrd="0" presId="urn:microsoft.com/office/officeart/2005/8/layout/orgChart1"/>
    <dgm:cxn modelId="{4C4F5681-B885-4ED2-8CE2-0C18E9963B56}" type="presParOf" srcId="{33DF2477-EB85-4B7E-BFD1-431DD797052F}" destId="{5A546465-A07C-44FA-A3D6-3DB7985C1CD2}" srcOrd="2" destOrd="0" presId="urn:microsoft.com/office/officeart/2005/8/layout/orgChart1"/>
    <dgm:cxn modelId="{E1901637-852F-4E1B-9AC4-B6358AAD2083}" type="presParOf" srcId="{52CDB310-5623-48FC-A23E-3FDCA04F494F}" destId="{7D219183-9F73-4F55-B29C-C002A874E742}" srcOrd="8" destOrd="0" presId="urn:microsoft.com/office/officeart/2005/8/layout/orgChart1"/>
    <dgm:cxn modelId="{731A2640-8DED-4924-90A1-6E1A3AF40923}" type="presParOf" srcId="{52CDB310-5623-48FC-A23E-3FDCA04F494F}" destId="{9C657C4E-43D4-4844-A396-A9E16C60B4AB}" srcOrd="9" destOrd="0" presId="urn:microsoft.com/office/officeart/2005/8/layout/orgChart1"/>
    <dgm:cxn modelId="{6218BA3A-5662-4A60-81FF-0886A8CFD153}" type="presParOf" srcId="{9C657C4E-43D4-4844-A396-A9E16C60B4AB}" destId="{4B125702-EDC6-47D9-9AE2-BA876B331F00}" srcOrd="0" destOrd="0" presId="urn:microsoft.com/office/officeart/2005/8/layout/orgChart1"/>
    <dgm:cxn modelId="{2A5A0389-AACB-4839-8D27-29B5E535EC6C}" type="presParOf" srcId="{4B125702-EDC6-47D9-9AE2-BA876B331F00}" destId="{FCA045DB-109B-4BD9-8B5B-936265CC06EC}" srcOrd="0" destOrd="0" presId="urn:microsoft.com/office/officeart/2005/8/layout/orgChart1"/>
    <dgm:cxn modelId="{E692D452-AC65-4B9E-BAD5-6ED65F6DDDA1}" type="presParOf" srcId="{4B125702-EDC6-47D9-9AE2-BA876B331F00}" destId="{378EAE62-3892-406B-AF89-386FD429C653}" srcOrd="1" destOrd="0" presId="urn:microsoft.com/office/officeart/2005/8/layout/orgChart1"/>
    <dgm:cxn modelId="{E897786F-B5D6-41C4-B393-B3B8646A76F1}" type="presParOf" srcId="{9C657C4E-43D4-4844-A396-A9E16C60B4AB}" destId="{3F318C6F-2898-4DA8-8E1F-E47006D8FF33}" srcOrd="1" destOrd="0" presId="urn:microsoft.com/office/officeart/2005/8/layout/orgChart1"/>
    <dgm:cxn modelId="{15D3B776-60C5-4F54-9DCC-A6CCC5861875}" type="presParOf" srcId="{9C657C4E-43D4-4844-A396-A9E16C60B4AB}" destId="{3E7B3F09-7631-46D7-9AE7-4931C776930D}" srcOrd="2" destOrd="0" presId="urn:microsoft.com/office/officeart/2005/8/layout/orgChart1"/>
    <dgm:cxn modelId="{F2BF54B8-D16E-4F03-AB42-1AA9C0097294}" type="presParOf" srcId="{52CDB310-5623-48FC-A23E-3FDCA04F494F}" destId="{5F4734C5-B5CF-4FE9-B238-4E06735577CB}" srcOrd="10" destOrd="0" presId="urn:microsoft.com/office/officeart/2005/8/layout/orgChart1"/>
    <dgm:cxn modelId="{7D0CE574-6C53-423A-AB0A-3238CA7DA6ED}" type="presParOf" srcId="{52CDB310-5623-48FC-A23E-3FDCA04F494F}" destId="{53ED18FB-DD61-4FC0-BBFB-8471E9441BA8}" srcOrd="11" destOrd="0" presId="urn:microsoft.com/office/officeart/2005/8/layout/orgChart1"/>
    <dgm:cxn modelId="{0F6A0AD5-91F2-4275-B208-39CA2E332A94}" type="presParOf" srcId="{53ED18FB-DD61-4FC0-BBFB-8471E9441BA8}" destId="{EAD12877-FF4B-4613-9AB9-975E4FB04C0F}" srcOrd="0" destOrd="0" presId="urn:microsoft.com/office/officeart/2005/8/layout/orgChart1"/>
    <dgm:cxn modelId="{1EA25655-B78C-4EFE-80B9-05436E0F7A24}" type="presParOf" srcId="{EAD12877-FF4B-4613-9AB9-975E4FB04C0F}" destId="{FDAB9EF4-76C4-48A1-91FB-3230EB6A752A}" srcOrd="0" destOrd="0" presId="urn:microsoft.com/office/officeart/2005/8/layout/orgChart1"/>
    <dgm:cxn modelId="{B51A21AC-86A5-47DC-8747-2086BD87E830}" type="presParOf" srcId="{EAD12877-FF4B-4613-9AB9-975E4FB04C0F}" destId="{5EF1B0DF-0020-4CD0-83E7-061B75E49C67}" srcOrd="1" destOrd="0" presId="urn:microsoft.com/office/officeart/2005/8/layout/orgChart1"/>
    <dgm:cxn modelId="{8FB1E9AF-F480-4A18-B887-12E798A7DB57}" type="presParOf" srcId="{53ED18FB-DD61-4FC0-BBFB-8471E9441BA8}" destId="{19A5F8E1-D1E3-4A67-95D2-26079A3AEF7F}" srcOrd="1" destOrd="0" presId="urn:microsoft.com/office/officeart/2005/8/layout/orgChart1"/>
    <dgm:cxn modelId="{60538580-6A83-4FCB-AE9B-7A0E89FFF147}" type="presParOf" srcId="{53ED18FB-DD61-4FC0-BBFB-8471E9441BA8}" destId="{347B61F8-8A9A-44B6-AF55-49DC059DF1BF}" srcOrd="2" destOrd="0" presId="urn:microsoft.com/office/officeart/2005/8/layout/orgChart1"/>
    <dgm:cxn modelId="{52B68719-3A2C-4BF1-B564-B163EDA0DE5A}" type="presParOf" srcId="{719FFAF0-57A0-46B9-94BC-A6EDF55A6D11}" destId="{241A3A26-7221-457C-A512-E6A21C57F005}" srcOrd="2" destOrd="0" presId="urn:microsoft.com/office/officeart/2005/8/layout/orgChart1"/>
    <dgm:cxn modelId="{960A204C-431A-4FE5-A402-C69FDFD28043}" type="presParOf" srcId="{35CBA655-D40F-4A2B-B71A-711D392B5A84}" destId="{528156B2-647C-44D5-ABAD-EBDCDF85B348}" srcOrd="2" destOrd="0" presId="urn:microsoft.com/office/officeart/2005/8/layout/orgChart1"/>
    <dgm:cxn modelId="{A333A6DA-B924-4C98-9009-89D54B8B4727}" type="presParOf" srcId="{25A00B3E-FEA8-439F-999E-8DB6BC95DBC0}" destId="{B87F60ED-85BE-4872-BA6E-CDCB9CBDC6A3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0211F14-E178-442B-BCC3-FEC11CD32A28}" type="doc">
      <dgm:prSet loTypeId="urn:microsoft.com/office/officeart/2005/8/layout/default#1" loCatId="list" qsTypeId="urn:microsoft.com/office/officeart/2005/8/quickstyle/simple3" qsCatId="simple" csTypeId="urn:microsoft.com/office/officeart/2005/8/colors/colorful1#5" csCatId="colorful" phldr="1"/>
      <dgm:spPr/>
      <dgm:t>
        <a:bodyPr/>
        <a:lstStyle/>
        <a:p>
          <a:endParaRPr lang="en-US"/>
        </a:p>
      </dgm:t>
    </dgm:pt>
    <dgm:pt modelId="{85BE9E91-0EC3-4EAC-9606-9ED100217B30}">
      <dgm:prSet custT="1"/>
      <dgm:spPr/>
      <dgm:t>
        <a:bodyPr/>
        <a:lstStyle/>
        <a:p>
          <a:pPr rtl="0"/>
          <a:r>
            <a:rPr lang="en-US" sz="2000" dirty="0" smtClean="0"/>
            <a:t>Syntax 	(</a:t>
          </a:r>
          <a:r>
            <a:rPr lang="en-US" sz="1800" dirty="0" err="1" smtClean="0"/>
            <a:t>c</a:t>
          </a:r>
          <a:r>
            <a:rPr lang="en-US" sz="1600" dirty="0" err="1" smtClean="0"/>
            <a:t>ompile+runtime</a:t>
          </a:r>
          <a:r>
            <a:rPr lang="en-US" sz="2000" dirty="0" smtClean="0"/>
            <a:t>)</a:t>
          </a:r>
          <a:endParaRPr lang="en-US" sz="2000" dirty="0"/>
        </a:p>
      </dgm:t>
    </dgm:pt>
    <dgm:pt modelId="{2EA61525-C261-475C-A37A-F6E6F6C5BA9C}" type="parTrans" cxnId="{08C70809-68CF-457C-9733-62144E5D161B}">
      <dgm:prSet/>
      <dgm:spPr/>
      <dgm:t>
        <a:bodyPr/>
        <a:lstStyle/>
        <a:p>
          <a:endParaRPr lang="en-US" sz="2000"/>
        </a:p>
      </dgm:t>
    </dgm:pt>
    <dgm:pt modelId="{A3601AAF-45DE-4F83-97E0-8627F349F0BE}" type="sibTrans" cxnId="{08C70809-68CF-457C-9733-62144E5D161B}">
      <dgm:prSet/>
      <dgm:spPr/>
      <dgm:t>
        <a:bodyPr/>
        <a:lstStyle/>
        <a:p>
          <a:endParaRPr lang="en-US" sz="2000"/>
        </a:p>
      </dgm:t>
    </dgm:pt>
    <dgm:pt modelId="{A427486C-585A-436A-93B1-8E0743ED449F}">
      <dgm:prSet custT="1"/>
      <dgm:spPr/>
      <dgm:t>
        <a:bodyPr/>
        <a:lstStyle/>
        <a:p>
          <a:pPr rtl="0"/>
          <a:r>
            <a:rPr lang="en-US" sz="1400" dirty="0" smtClean="0"/>
            <a:t>Data : B uses the type/format of the data created by A</a:t>
          </a:r>
          <a:endParaRPr lang="en-US" sz="1400" dirty="0"/>
        </a:p>
      </dgm:t>
    </dgm:pt>
    <dgm:pt modelId="{1BB0F51E-376A-404A-BC60-DCA1E17FEFDA}" type="parTrans" cxnId="{1151A087-B2CC-4F41-8CAC-2C6F141D0F9D}">
      <dgm:prSet/>
      <dgm:spPr/>
      <dgm:t>
        <a:bodyPr/>
        <a:lstStyle/>
        <a:p>
          <a:endParaRPr lang="en-US" sz="2000"/>
        </a:p>
      </dgm:t>
    </dgm:pt>
    <dgm:pt modelId="{5707EACF-3F29-4C5A-AEF8-59AA59D42FC9}" type="sibTrans" cxnId="{1151A087-B2CC-4F41-8CAC-2C6F141D0F9D}">
      <dgm:prSet/>
      <dgm:spPr/>
      <dgm:t>
        <a:bodyPr/>
        <a:lstStyle/>
        <a:p>
          <a:endParaRPr lang="en-US" sz="2000"/>
        </a:p>
      </dgm:t>
    </dgm:pt>
    <dgm:pt modelId="{B0FC05E6-873F-46B8-B4E4-A1B19C7506AA}">
      <dgm:prSet custT="1"/>
      <dgm:spPr/>
      <dgm:t>
        <a:bodyPr/>
        <a:lstStyle/>
        <a:p>
          <a:pPr rtl="0"/>
          <a:r>
            <a:rPr lang="en-US" sz="1400" dirty="0" smtClean="0"/>
            <a:t>Service B uses the API signature provided by A</a:t>
          </a:r>
          <a:endParaRPr lang="en-US" sz="1400" dirty="0"/>
        </a:p>
      </dgm:t>
    </dgm:pt>
    <dgm:pt modelId="{9B4F3E2D-6CFA-4CCA-AD8B-271173CA6D5A}" type="parTrans" cxnId="{6D39754A-057B-4D4D-96F1-0F57CE7B34DB}">
      <dgm:prSet/>
      <dgm:spPr/>
      <dgm:t>
        <a:bodyPr/>
        <a:lstStyle/>
        <a:p>
          <a:endParaRPr lang="en-US" sz="2000"/>
        </a:p>
      </dgm:t>
    </dgm:pt>
    <dgm:pt modelId="{62B06DFC-AFF1-4A61-B697-F6DE1B359518}" type="sibTrans" cxnId="{6D39754A-057B-4D4D-96F1-0F57CE7B34DB}">
      <dgm:prSet/>
      <dgm:spPr/>
      <dgm:t>
        <a:bodyPr/>
        <a:lstStyle/>
        <a:p>
          <a:endParaRPr lang="en-US" sz="2000"/>
        </a:p>
      </dgm:t>
    </dgm:pt>
    <dgm:pt modelId="{60089FDD-F75E-42FD-A35B-3FE8B128A865}">
      <dgm:prSet custT="1"/>
      <dgm:spPr/>
      <dgm:t>
        <a:bodyPr/>
        <a:lstStyle/>
        <a:p>
          <a:pPr rtl="0"/>
          <a:r>
            <a:rPr lang="en-US" sz="1400" dirty="0" smtClean="0"/>
            <a:t>Service: Same …..</a:t>
          </a:r>
          <a:endParaRPr lang="en-US" sz="1400" dirty="0"/>
        </a:p>
      </dgm:t>
    </dgm:pt>
    <dgm:pt modelId="{3C930F20-1F24-40D0-8208-73A798762EAE}" type="parTrans" cxnId="{4EEE4433-5454-4691-912D-02FAD320317D}">
      <dgm:prSet/>
      <dgm:spPr/>
      <dgm:t>
        <a:bodyPr/>
        <a:lstStyle/>
        <a:p>
          <a:endParaRPr lang="en-US" sz="2000"/>
        </a:p>
      </dgm:t>
    </dgm:pt>
    <dgm:pt modelId="{5A01A88A-133B-49E0-AE1B-B60AA6DB71A5}" type="sibTrans" cxnId="{4EEE4433-5454-4691-912D-02FAD320317D}">
      <dgm:prSet/>
      <dgm:spPr/>
      <dgm:t>
        <a:bodyPr/>
        <a:lstStyle/>
        <a:p>
          <a:endParaRPr lang="en-US" sz="2000"/>
        </a:p>
      </dgm:t>
    </dgm:pt>
    <dgm:pt modelId="{8BB8A423-0C6D-4AB8-AA91-D8F66FABA071}">
      <dgm:prSet custT="1"/>
      <dgm:spPr/>
      <dgm:t>
        <a:bodyPr/>
        <a:lstStyle/>
        <a:p>
          <a:pPr rtl="0"/>
          <a:r>
            <a:rPr lang="en-US" sz="1800" dirty="0" smtClean="0"/>
            <a:t>Sequence </a:t>
          </a:r>
          <a:endParaRPr lang="en-US" sz="1800" dirty="0"/>
        </a:p>
      </dgm:t>
    </dgm:pt>
    <dgm:pt modelId="{F625E6EE-F19A-47A0-B451-4E4EC9872105}" type="parTrans" cxnId="{FE0047C3-199C-4DB4-A18D-32FE3BBAABD9}">
      <dgm:prSet/>
      <dgm:spPr/>
      <dgm:t>
        <a:bodyPr/>
        <a:lstStyle/>
        <a:p>
          <a:endParaRPr lang="en-US" sz="2000"/>
        </a:p>
      </dgm:t>
    </dgm:pt>
    <dgm:pt modelId="{6D40CAAC-8602-432B-A7CF-631FF345209D}" type="sibTrans" cxnId="{FE0047C3-199C-4DB4-A18D-32FE3BBAABD9}">
      <dgm:prSet/>
      <dgm:spPr/>
      <dgm:t>
        <a:bodyPr/>
        <a:lstStyle/>
        <a:p>
          <a:endParaRPr lang="en-US" sz="2000"/>
        </a:p>
      </dgm:t>
    </dgm:pt>
    <dgm:pt modelId="{2FB7351D-4BB1-4543-A591-9CDAB5F49726}">
      <dgm:prSet custT="1"/>
      <dgm:spPr/>
      <dgm:t>
        <a:bodyPr/>
        <a:lstStyle/>
        <a:p>
          <a:pPr rtl="0"/>
          <a:r>
            <a:rPr lang="en-US" sz="1400" dirty="0" smtClean="0"/>
            <a:t>Data -- data packets created by A should maintain the order as understood by B</a:t>
          </a:r>
          <a:endParaRPr lang="en-US" sz="1400" dirty="0"/>
        </a:p>
      </dgm:t>
    </dgm:pt>
    <dgm:pt modelId="{E58C219C-FEA9-438C-9FC8-7E8333A0D541}" type="parTrans" cxnId="{53701864-A215-4076-A1D8-AD01B71B2F76}">
      <dgm:prSet/>
      <dgm:spPr/>
      <dgm:t>
        <a:bodyPr/>
        <a:lstStyle/>
        <a:p>
          <a:endParaRPr lang="en-US" sz="2000"/>
        </a:p>
      </dgm:t>
    </dgm:pt>
    <dgm:pt modelId="{2F12F367-1017-4367-88BE-ACB936A6B7B2}" type="sibTrans" cxnId="{53701864-A215-4076-A1D8-AD01B71B2F76}">
      <dgm:prSet/>
      <dgm:spPr/>
      <dgm:t>
        <a:bodyPr/>
        <a:lstStyle/>
        <a:p>
          <a:endParaRPr lang="en-US" sz="2000"/>
        </a:p>
      </dgm:t>
    </dgm:pt>
    <dgm:pt modelId="{39B122BE-7D86-453D-B1C9-23EF40085828}">
      <dgm:prSet custT="1"/>
      <dgm:spPr/>
      <dgm:t>
        <a:bodyPr/>
        <a:lstStyle/>
        <a:p>
          <a:pPr rtl="0"/>
          <a:r>
            <a:rPr lang="en-US" sz="1400" dirty="0" smtClean="0"/>
            <a:t>Control– A must execute 5ms before B. Or an API of A can be called only after calling another API</a:t>
          </a:r>
          <a:endParaRPr lang="en-US" sz="1400" dirty="0"/>
        </a:p>
      </dgm:t>
    </dgm:pt>
    <dgm:pt modelId="{B02CFE3B-72B4-4AF3-8A07-B21AEBF2D2DD}" type="parTrans" cxnId="{20B23796-44F4-4857-AC32-AF9CAFB9B66C}">
      <dgm:prSet/>
      <dgm:spPr/>
      <dgm:t>
        <a:bodyPr/>
        <a:lstStyle/>
        <a:p>
          <a:endParaRPr lang="en-US" sz="2000"/>
        </a:p>
      </dgm:t>
    </dgm:pt>
    <dgm:pt modelId="{0C394427-857F-4005-BC13-71DDED040469}" type="sibTrans" cxnId="{20B23796-44F4-4857-AC32-AF9CAFB9B66C}">
      <dgm:prSet/>
      <dgm:spPr/>
      <dgm:t>
        <a:bodyPr/>
        <a:lstStyle/>
        <a:p>
          <a:endParaRPr lang="en-US" sz="2000"/>
        </a:p>
      </dgm:t>
    </dgm:pt>
    <dgm:pt modelId="{CC6AED77-690B-4FA6-9996-D24DC2D85158}">
      <dgm:prSet custT="1"/>
      <dgm:spPr/>
      <dgm:t>
        <a:bodyPr/>
        <a:lstStyle/>
        <a:p>
          <a:pPr rtl="0"/>
          <a:r>
            <a:rPr lang="en-US" sz="1800" dirty="0" smtClean="0"/>
            <a:t>Interface identity</a:t>
          </a:r>
          <a:endParaRPr lang="en-US" sz="1800" dirty="0"/>
        </a:p>
      </dgm:t>
    </dgm:pt>
    <dgm:pt modelId="{CF4E0C89-17E6-4DAB-A142-74A29F6C5A5B}" type="parTrans" cxnId="{B4ECD40F-F63E-4228-91D1-B9AE39F1E858}">
      <dgm:prSet/>
      <dgm:spPr/>
      <dgm:t>
        <a:bodyPr/>
        <a:lstStyle/>
        <a:p>
          <a:endParaRPr lang="en-US" sz="2000"/>
        </a:p>
      </dgm:t>
    </dgm:pt>
    <dgm:pt modelId="{2F03B0F5-516E-4AE6-BF5E-FF5707DFD84A}" type="sibTrans" cxnId="{B4ECD40F-F63E-4228-91D1-B9AE39F1E858}">
      <dgm:prSet/>
      <dgm:spPr/>
      <dgm:t>
        <a:bodyPr/>
        <a:lstStyle/>
        <a:p>
          <a:endParaRPr lang="en-US" sz="2000"/>
        </a:p>
      </dgm:t>
    </dgm:pt>
    <dgm:pt modelId="{7C8A03DE-0540-45D1-9BB4-645694FC4121}">
      <dgm:prSet custT="1"/>
      <dgm:spPr/>
      <dgm:t>
        <a:bodyPr/>
        <a:lstStyle/>
        <a:p>
          <a:pPr rtl="0"/>
          <a:r>
            <a:rPr lang="en-US" sz="1800" dirty="0" smtClean="0"/>
            <a:t>Location of A</a:t>
          </a:r>
          <a:endParaRPr lang="en-US" sz="1800" dirty="0"/>
        </a:p>
      </dgm:t>
    </dgm:pt>
    <dgm:pt modelId="{87AB1263-A300-44FB-B034-2B680FCCF436}" type="parTrans" cxnId="{51564713-CE58-43D7-A639-B4C5E63FEB2D}">
      <dgm:prSet/>
      <dgm:spPr/>
      <dgm:t>
        <a:bodyPr/>
        <a:lstStyle/>
        <a:p>
          <a:endParaRPr lang="en-US" sz="2000"/>
        </a:p>
      </dgm:t>
    </dgm:pt>
    <dgm:pt modelId="{A89AB975-96A8-4FB1-A1CF-F7EFE6AC7377}" type="sibTrans" cxnId="{51564713-CE58-43D7-A639-B4C5E63FEB2D}">
      <dgm:prSet/>
      <dgm:spPr/>
      <dgm:t>
        <a:bodyPr/>
        <a:lstStyle/>
        <a:p>
          <a:endParaRPr lang="en-US" sz="2000"/>
        </a:p>
      </dgm:t>
    </dgm:pt>
    <dgm:pt modelId="{A55FE8C9-580D-4374-AC96-2A0CAC0FD5B7}">
      <dgm:prSet custT="1"/>
      <dgm:spPr/>
      <dgm:t>
        <a:bodyPr/>
        <a:lstStyle/>
        <a:p>
          <a:pPr rtl="0"/>
          <a:r>
            <a:rPr lang="en-US" sz="1800" dirty="0" smtClean="0"/>
            <a:t>Quality of service/data provided by A</a:t>
          </a:r>
          <a:endParaRPr lang="en-US" sz="1800" dirty="0"/>
        </a:p>
      </dgm:t>
    </dgm:pt>
    <dgm:pt modelId="{4B628BFF-C2A2-4471-A51B-028F4A11584F}" type="parTrans" cxnId="{632410CB-0842-4AB8-ADE1-B4AEACDFED8E}">
      <dgm:prSet/>
      <dgm:spPr/>
      <dgm:t>
        <a:bodyPr/>
        <a:lstStyle/>
        <a:p>
          <a:endParaRPr lang="en-US" sz="2000"/>
        </a:p>
      </dgm:t>
    </dgm:pt>
    <dgm:pt modelId="{C631C8E2-1880-4A4E-9AF2-E98EED8EAFD6}" type="sibTrans" cxnId="{632410CB-0842-4AB8-ADE1-B4AEACDFED8E}">
      <dgm:prSet/>
      <dgm:spPr/>
      <dgm:t>
        <a:bodyPr/>
        <a:lstStyle/>
        <a:p>
          <a:endParaRPr lang="en-US" sz="2000"/>
        </a:p>
      </dgm:t>
    </dgm:pt>
    <dgm:pt modelId="{B04CF45A-1980-48B3-967B-20306E49C344}">
      <dgm:prSet custT="1"/>
      <dgm:spPr/>
      <dgm:t>
        <a:bodyPr/>
        <a:lstStyle/>
        <a:p>
          <a:pPr rtl="0"/>
          <a:r>
            <a:rPr lang="en-US" sz="1800" dirty="0" smtClean="0"/>
            <a:t>Existence of A</a:t>
          </a:r>
          <a:endParaRPr lang="en-US" sz="1800" dirty="0"/>
        </a:p>
      </dgm:t>
    </dgm:pt>
    <dgm:pt modelId="{1875E05B-89D8-4AF1-B024-1F6B86A0A4C8}" type="parTrans" cxnId="{11671953-1B24-4AA9-8B6F-3FAA4CB06143}">
      <dgm:prSet/>
      <dgm:spPr/>
      <dgm:t>
        <a:bodyPr/>
        <a:lstStyle/>
        <a:p>
          <a:endParaRPr lang="en-US" sz="2000"/>
        </a:p>
      </dgm:t>
    </dgm:pt>
    <dgm:pt modelId="{423DF419-458D-455E-BC79-AACD5906C884}" type="sibTrans" cxnId="{11671953-1B24-4AA9-8B6F-3FAA4CB06143}">
      <dgm:prSet/>
      <dgm:spPr/>
      <dgm:t>
        <a:bodyPr/>
        <a:lstStyle/>
        <a:p>
          <a:endParaRPr lang="en-US" sz="2000"/>
        </a:p>
      </dgm:t>
    </dgm:pt>
    <dgm:pt modelId="{46BB0B94-BF74-4931-A08B-7D8A486A1556}">
      <dgm:prSet custT="1"/>
      <dgm:spPr/>
      <dgm:t>
        <a:bodyPr/>
        <a:lstStyle/>
        <a:p>
          <a:pPr rtl="0"/>
          <a:r>
            <a:rPr lang="en-US" sz="1800" dirty="0" smtClean="0"/>
            <a:t>Resource behavior of A</a:t>
          </a:r>
          <a:endParaRPr lang="en-US" sz="1800" dirty="0"/>
        </a:p>
      </dgm:t>
    </dgm:pt>
    <dgm:pt modelId="{D376F8CF-34A2-4C30-8F06-8D763E5CE458}" type="parTrans" cxnId="{44DC2BDB-3144-4AA6-81C4-D7598CC17008}">
      <dgm:prSet/>
      <dgm:spPr/>
      <dgm:t>
        <a:bodyPr/>
        <a:lstStyle/>
        <a:p>
          <a:endParaRPr lang="en-US" sz="2000"/>
        </a:p>
      </dgm:t>
    </dgm:pt>
    <dgm:pt modelId="{0A7E3921-4FBC-4267-BDE9-019CDD40E983}" type="sibTrans" cxnId="{44DC2BDB-3144-4AA6-81C4-D7598CC17008}">
      <dgm:prSet/>
      <dgm:spPr/>
      <dgm:t>
        <a:bodyPr/>
        <a:lstStyle/>
        <a:p>
          <a:endParaRPr lang="en-US" sz="2000"/>
        </a:p>
      </dgm:t>
    </dgm:pt>
    <dgm:pt modelId="{8CC78A26-F146-411C-8455-EAC44E4A4C55}">
      <dgm:prSet custT="1"/>
      <dgm:spPr/>
      <dgm:t>
        <a:bodyPr/>
        <a:lstStyle/>
        <a:p>
          <a:pPr rtl="0"/>
          <a:r>
            <a:rPr lang="en-US" sz="1800" smtClean="0"/>
            <a:t>Semantics of A</a:t>
          </a:r>
          <a:endParaRPr lang="en-US" sz="1800" dirty="0"/>
        </a:p>
      </dgm:t>
    </dgm:pt>
    <dgm:pt modelId="{63041B03-FFC8-4C92-BB83-0767B85283D8}" type="parTrans" cxnId="{2F41EACD-DD69-4209-B369-7EC04F1ABF38}">
      <dgm:prSet/>
      <dgm:spPr/>
      <dgm:t>
        <a:bodyPr/>
        <a:lstStyle/>
        <a:p>
          <a:endParaRPr lang="en-US" sz="2000"/>
        </a:p>
      </dgm:t>
    </dgm:pt>
    <dgm:pt modelId="{0A929EB2-79C0-48DF-8637-21420AB35DD1}" type="sibTrans" cxnId="{2F41EACD-DD69-4209-B369-7EC04F1ABF38}">
      <dgm:prSet/>
      <dgm:spPr/>
      <dgm:t>
        <a:bodyPr/>
        <a:lstStyle/>
        <a:p>
          <a:endParaRPr lang="en-US" sz="2000"/>
        </a:p>
      </dgm:t>
    </dgm:pt>
    <dgm:pt modelId="{BD96EA6B-ABEA-4823-BA42-B782266EE231}">
      <dgm:prSet custT="1"/>
      <dgm:spPr/>
      <dgm:t>
        <a:bodyPr/>
        <a:lstStyle/>
        <a:p>
          <a:pPr rtl="0"/>
          <a:r>
            <a:rPr lang="en-US" sz="1400" dirty="0" smtClean="0"/>
            <a:t>Data: Semantics of data created by A should be consistent with the assumption made by B</a:t>
          </a:r>
          <a:endParaRPr lang="en-US" sz="1400" dirty="0"/>
        </a:p>
      </dgm:t>
    </dgm:pt>
    <dgm:pt modelId="{25DCBDCD-15D7-4455-9FA4-85FAB9DCFA17}" type="parTrans" cxnId="{E83DADB9-32AC-4211-8E6A-5E4C0E550A6E}">
      <dgm:prSet/>
      <dgm:spPr/>
      <dgm:t>
        <a:bodyPr/>
        <a:lstStyle/>
        <a:p>
          <a:endParaRPr lang="en-US" sz="2000"/>
        </a:p>
      </dgm:t>
    </dgm:pt>
    <dgm:pt modelId="{7721987D-CF78-4464-8B0E-2774B825BD61}" type="sibTrans" cxnId="{E83DADB9-32AC-4211-8E6A-5E4C0E550A6E}">
      <dgm:prSet/>
      <dgm:spPr/>
      <dgm:t>
        <a:bodyPr/>
        <a:lstStyle/>
        <a:p>
          <a:endParaRPr lang="en-US" sz="2000"/>
        </a:p>
      </dgm:t>
    </dgm:pt>
    <dgm:pt modelId="{F3955470-C756-4BF5-8297-55BB7979B8C9}">
      <dgm:prSet custT="1"/>
      <dgm:spPr/>
      <dgm:t>
        <a:bodyPr/>
        <a:lstStyle/>
        <a:p>
          <a:pPr rtl="0"/>
          <a:r>
            <a:rPr lang="en-US" sz="1400" dirty="0" smtClean="0"/>
            <a:t>Handle of A must be consistent with B, if A maintains multiple interfaces</a:t>
          </a:r>
          <a:endParaRPr lang="en-US" sz="1400" dirty="0"/>
        </a:p>
      </dgm:t>
    </dgm:pt>
    <dgm:pt modelId="{F1E2187E-4035-4508-83B1-9382CF8F5BD9}" type="parTrans" cxnId="{CA455B9A-D6F8-45D2-B655-716BF95F6622}">
      <dgm:prSet/>
      <dgm:spPr/>
      <dgm:t>
        <a:bodyPr/>
        <a:lstStyle/>
        <a:p>
          <a:endParaRPr lang="en-US" sz="2000"/>
        </a:p>
      </dgm:t>
    </dgm:pt>
    <dgm:pt modelId="{FE3BB8FA-3C87-4A40-B520-FA9D436A99D5}" type="sibTrans" cxnId="{CA455B9A-D6F8-45D2-B655-716BF95F6622}">
      <dgm:prSet/>
      <dgm:spPr/>
      <dgm:t>
        <a:bodyPr/>
        <a:lstStyle/>
        <a:p>
          <a:endParaRPr lang="en-US" sz="2000"/>
        </a:p>
      </dgm:t>
    </dgm:pt>
    <dgm:pt modelId="{35644AB3-A600-4A79-9DE1-F7B0E9C98D63}">
      <dgm:prSet custT="1"/>
      <dgm:spPr/>
      <dgm:t>
        <a:bodyPr/>
        <a:lstStyle/>
        <a:p>
          <a:pPr rtl="0"/>
          <a:r>
            <a:rPr lang="en-US" sz="1400" dirty="0" smtClean="0"/>
            <a:t>B may assume that A is in-process or in a different process, hardware..</a:t>
          </a:r>
          <a:endParaRPr lang="en-US" sz="1400" dirty="0"/>
        </a:p>
      </dgm:t>
    </dgm:pt>
    <dgm:pt modelId="{57E2CA9A-68D6-45A0-8A24-68F620D0A83B}" type="parTrans" cxnId="{C33C60B5-5162-425F-B48B-558CFB00D125}">
      <dgm:prSet/>
      <dgm:spPr/>
      <dgm:t>
        <a:bodyPr/>
        <a:lstStyle/>
        <a:p>
          <a:endParaRPr lang="en-US" sz="2000"/>
        </a:p>
      </dgm:t>
    </dgm:pt>
    <dgm:pt modelId="{56116DBC-D513-4422-88D5-5D71C1A9472B}" type="sibTrans" cxnId="{C33C60B5-5162-425F-B48B-558CFB00D125}">
      <dgm:prSet/>
      <dgm:spPr/>
      <dgm:t>
        <a:bodyPr/>
        <a:lstStyle/>
        <a:p>
          <a:endParaRPr lang="en-US" sz="2000"/>
        </a:p>
      </dgm:t>
    </dgm:pt>
    <dgm:pt modelId="{0F2D28AA-2F6C-4F3D-A67E-D90D2DBFA747}">
      <dgm:prSet custT="1"/>
      <dgm:spPr/>
      <dgm:t>
        <a:bodyPr/>
        <a:lstStyle/>
        <a:p>
          <a:pPr rtl="0"/>
          <a:r>
            <a:rPr lang="en-US" sz="1400" dirty="0" smtClean="0"/>
            <a:t>Data quality produced by A must be &gt; some accuracy for B to work</a:t>
          </a:r>
          <a:endParaRPr lang="en-US" sz="1400" dirty="0"/>
        </a:p>
      </dgm:t>
    </dgm:pt>
    <dgm:pt modelId="{1341A02B-CB94-4FA4-8437-C87B1AA0ECE8}" type="parTrans" cxnId="{D77D9695-E8A9-44C0-8327-B2DFF506F26F}">
      <dgm:prSet/>
      <dgm:spPr/>
      <dgm:t>
        <a:bodyPr/>
        <a:lstStyle/>
        <a:p>
          <a:endParaRPr lang="en-US" sz="2000"/>
        </a:p>
      </dgm:t>
    </dgm:pt>
    <dgm:pt modelId="{AA411A85-38A8-4A49-8544-64570FFBB8B3}" type="sibTrans" cxnId="{D77D9695-E8A9-44C0-8327-B2DFF506F26F}">
      <dgm:prSet/>
      <dgm:spPr/>
      <dgm:t>
        <a:bodyPr/>
        <a:lstStyle/>
        <a:p>
          <a:endParaRPr lang="en-US" sz="2000"/>
        </a:p>
      </dgm:t>
    </dgm:pt>
    <dgm:pt modelId="{AAA4DA81-CE5F-44EB-B63F-90AE06819960}">
      <dgm:prSet custT="1"/>
      <dgm:spPr/>
      <dgm:t>
        <a:bodyPr/>
        <a:lstStyle/>
        <a:p>
          <a:pPr rtl="0"/>
          <a:r>
            <a:rPr lang="en-US" sz="1400" dirty="0" smtClean="0"/>
            <a:t>B may assume that A must exist when B is calling A</a:t>
          </a:r>
          <a:endParaRPr lang="en-US" sz="1400" dirty="0"/>
        </a:p>
      </dgm:t>
    </dgm:pt>
    <dgm:pt modelId="{DF22A7C4-B122-40E4-AA42-87E7E49B1F54}" type="parTrans" cxnId="{B2E0AAE7-4FE3-47CD-B9DF-48C3E34EC90D}">
      <dgm:prSet/>
      <dgm:spPr/>
      <dgm:t>
        <a:bodyPr/>
        <a:lstStyle/>
        <a:p>
          <a:endParaRPr lang="en-US" sz="2000"/>
        </a:p>
      </dgm:t>
    </dgm:pt>
    <dgm:pt modelId="{17C5392C-9FE9-4C91-BA8A-ED69862FCBE2}" type="sibTrans" cxnId="{B2E0AAE7-4FE3-47CD-B9DF-48C3E34EC90D}">
      <dgm:prSet/>
      <dgm:spPr/>
      <dgm:t>
        <a:bodyPr/>
        <a:lstStyle/>
        <a:p>
          <a:endParaRPr lang="en-US" sz="2000"/>
        </a:p>
      </dgm:t>
    </dgm:pt>
    <dgm:pt modelId="{CFED5667-BABE-45C0-B9A9-6F5E25A9D1E8}">
      <dgm:prSet custT="1"/>
      <dgm:spPr/>
      <dgm:t>
        <a:bodyPr/>
        <a:lstStyle/>
        <a:p>
          <a:pPr rtl="0"/>
          <a:r>
            <a:rPr lang="en-US" sz="1400" dirty="0" smtClean="0"/>
            <a:t>B may assume that both use same memory</a:t>
          </a:r>
          <a:endParaRPr lang="en-US" sz="1400" dirty="0"/>
        </a:p>
      </dgm:t>
    </dgm:pt>
    <dgm:pt modelId="{E6BEBDF0-BD50-43B0-93FF-4E324FC9C0A0}" type="parTrans" cxnId="{DFDF7CDC-C7E8-40CD-AB26-F41E69EC9D55}">
      <dgm:prSet/>
      <dgm:spPr/>
      <dgm:t>
        <a:bodyPr/>
        <a:lstStyle/>
        <a:p>
          <a:endParaRPr lang="en-US" sz="2000"/>
        </a:p>
      </dgm:t>
    </dgm:pt>
    <dgm:pt modelId="{693D4A26-DABA-400C-B52A-053A7A12207A}" type="sibTrans" cxnId="{DFDF7CDC-C7E8-40CD-AB26-F41E69EC9D55}">
      <dgm:prSet/>
      <dgm:spPr/>
      <dgm:t>
        <a:bodyPr/>
        <a:lstStyle/>
        <a:p>
          <a:endParaRPr lang="en-US" sz="2000"/>
        </a:p>
      </dgm:t>
    </dgm:pt>
    <dgm:pt modelId="{BFBDA03E-CE26-4193-8676-BB85849C2609}">
      <dgm:prSet custT="1"/>
      <dgm:spPr/>
      <dgm:t>
        <a:bodyPr/>
        <a:lstStyle/>
        <a:p>
          <a:pPr rtl="0"/>
          <a:r>
            <a:rPr lang="en-US" sz="1400" dirty="0" smtClean="0"/>
            <a:t>B needs to reserve a resource owned by A</a:t>
          </a:r>
          <a:endParaRPr lang="en-US" sz="1400" dirty="0"/>
        </a:p>
      </dgm:t>
    </dgm:pt>
    <dgm:pt modelId="{2F216C4E-CC0E-4E52-9FED-885CC3E2EECF}" type="parTrans" cxnId="{36DC0F46-C903-4834-920E-F1B1496B3693}">
      <dgm:prSet/>
      <dgm:spPr/>
      <dgm:t>
        <a:bodyPr/>
        <a:lstStyle/>
        <a:p>
          <a:endParaRPr lang="en-US" sz="2000"/>
        </a:p>
      </dgm:t>
    </dgm:pt>
    <dgm:pt modelId="{6E76AF3B-DD5B-4798-9D59-8D5796B30B83}" type="sibTrans" cxnId="{36DC0F46-C903-4834-920E-F1B1496B3693}">
      <dgm:prSet/>
      <dgm:spPr/>
      <dgm:t>
        <a:bodyPr/>
        <a:lstStyle/>
        <a:p>
          <a:endParaRPr lang="en-US" sz="2000"/>
        </a:p>
      </dgm:t>
    </dgm:pt>
    <dgm:pt modelId="{C4D0D06F-C05B-431D-816B-964F4DEFD25E}" type="pres">
      <dgm:prSet presAssocID="{B0211F14-E178-442B-BCC3-FEC11CD32A28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92C60C7-940A-48E4-92CA-5C333A951829}" type="pres">
      <dgm:prSet presAssocID="{85BE9E91-0EC3-4EAC-9606-9ED100217B30}" presName="node" presStyleLbl="node1" presStyleIdx="0" presStyleCnt="8" custScaleX="11257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5173F66-24C1-4A2C-B219-2622FD39BBB7}" type="pres">
      <dgm:prSet presAssocID="{A3601AAF-45DE-4F83-97E0-8627F349F0BE}" presName="sibTrans" presStyleCnt="0"/>
      <dgm:spPr/>
    </dgm:pt>
    <dgm:pt modelId="{99AB3E69-CF6C-4396-BD14-6DA843B09678}" type="pres">
      <dgm:prSet presAssocID="{8CC78A26-F146-411C-8455-EAC44E4A4C55}" presName="node" presStyleLbl="node1" presStyleIdx="1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801512A-CF4B-4AC9-B9F8-AE43D72B6ED8}" type="pres">
      <dgm:prSet presAssocID="{0A929EB2-79C0-48DF-8637-21420AB35DD1}" presName="sibTrans" presStyleCnt="0"/>
      <dgm:spPr/>
    </dgm:pt>
    <dgm:pt modelId="{99EBB280-35FF-4985-AD72-142BC51A1744}" type="pres">
      <dgm:prSet presAssocID="{8BB8A423-0C6D-4AB8-AA91-D8F66FABA071}" presName="node" presStyleLbl="node1" presStyleIdx="2" presStyleCnt="8" custScaleY="1416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0D775C-8C05-4B58-9FC8-C3741A60873C}" type="pres">
      <dgm:prSet presAssocID="{6D40CAAC-8602-432B-A7CF-631FF345209D}" presName="sibTrans" presStyleCnt="0"/>
      <dgm:spPr/>
    </dgm:pt>
    <dgm:pt modelId="{159C08CA-105A-4CCF-8DFA-D0C117662B5A}" type="pres">
      <dgm:prSet presAssocID="{CC6AED77-690B-4FA6-9996-D24DC2D85158}" presName="node" presStyleLbl="node1" presStyleIdx="3" presStyleCnt="8" custScaleY="90909" custLinFactNeighborY="145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DAB2C13-8D46-473B-AD0C-0FF6DBEAACE5}" type="pres">
      <dgm:prSet presAssocID="{2F03B0F5-516E-4AE6-BF5E-FF5707DFD84A}" presName="sibTrans" presStyleCnt="0"/>
      <dgm:spPr/>
    </dgm:pt>
    <dgm:pt modelId="{D3A09A55-1C4A-4698-B95B-22A3FF4F8308}" type="pres">
      <dgm:prSet presAssocID="{7C8A03DE-0540-45D1-9BB4-645694FC4121}" presName="node" presStyleLbl="node1" presStyleIdx="4" presStyleCnt="8" custScaleY="90909" custLinFactNeighborY="145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8235AC-1210-45F5-839E-2761144B1591}" type="pres">
      <dgm:prSet presAssocID="{A89AB975-96A8-4FB1-A1CF-F7EFE6AC7377}" presName="sibTrans" presStyleCnt="0"/>
      <dgm:spPr/>
    </dgm:pt>
    <dgm:pt modelId="{1D283551-182D-4F32-BB67-81DDEEF65A1D}" type="pres">
      <dgm:prSet presAssocID="{A55FE8C9-580D-4374-AC96-2A0CAC0FD5B7}" presName="node" presStyleLbl="node1" presStyleIdx="5" presStyleCnt="8" custScaleY="90909" custLinFactNeighborY="145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BC1BAF3-4689-49B8-AB6A-07438A5113F9}" type="pres">
      <dgm:prSet presAssocID="{C631C8E2-1880-4A4E-9AF2-E98EED8EAFD6}" presName="sibTrans" presStyleCnt="0"/>
      <dgm:spPr/>
    </dgm:pt>
    <dgm:pt modelId="{79B99989-1AB0-4F83-A1C8-B47D978DA6B7}" type="pres">
      <dgm:prSet presAssocID="{B04CF45A-1980-48B3-967B-20306E49C344}" presName="node" presStyleLbl="node1" presStyleIdx="6" presStyleCnt="8" custScaleY="90909" custLinFactNeighborY="78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ECD4D68-554D-4CD3-B584-B43A1C6ECE1A}" type="pres">
      <dgm:prSet presAssocID="{423DF419-458D-455E-BC79-AACD5906C884}" presName="sibTrans" presStyleCnt="0"/>
      <dgm:spPr/>
    </dgm:pt>
    <dgm:pt modelId="{5C919D79-4EE6-48D8-A3B5-96B95D5F1B4A}" type="pres">
      <dgm:prSet presAssocID="{46BB0B94-BF74-4931-A08B-7D8A486A1556}" presName="node" presStyleLbl="node1" presStyleIdx="7" presStyleCnt="8" custScaleY="90909" custLinFactNeighborY="78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D39754A-057B-4D4D-96F1-0F57CE7B34DB}" srcId="{85BE9E91-0EC3-4EAC-9606-9ED100217B30}" destId="{B0FC05E6-873F-46B8-B4E4-A1B19C7506AA}" srcOrd="1" destOrd="0" parTransId="{9B4F3E2D-6CFA-4CCA-AD8B-271173CA6D5A}" sibTransId="{62B06DFC-AFF1-4A61-B697-F6DE1B359518}"/>
    <dgm:cxn modelId="{DDED41B8-5150-41A9-B81E-27E5BECC4719}" type="presOf" srcId="{A55FE8C9-580D-4374-AC96-2A0CAC0FD5B7}" destId="{1D283551-182D-4F32-BB67-81DDEEF65A1D}" srcOrd="0" destOrd="0" presId="urn:microsoft.com/office/officeart/2005/8/layout/default#1"/>
    <dgm:cxn modelId="{FE0047C3-199C-4DB4-A18D-32FE3BBAABD9}" srcId="{B0211F14-E178-442B-BCC3-FEC11CD32A28}" destId="{8BB8A423-0C6D-4AB8-AA91-D8F66FABA071}" srcOrd="2" destOrd="0" parTransId="{F625E6EE-F19A-47A0-B451-4E4EC9872105}" sibTransId="{6D40CAAC-8602-432B-A7CF-631FF345209D}"/>
    <dgm:cxn modelId="{C33C60B5-5162-425F-B48B-558CFB00D125}" srcId="{7C8A03DE-0540-45D1-9BB4-645694FC4121}" destId="{35644AB3-A600-4A79-9DE1-F7B0E9C98D63}" srcOrd="0" destOrd="0" parTransId="{57E2CA9A-68D6-45A0-8A24-68F620D0A83B}" sibTransId="{56116DBC-D513-4422-88D5-5D71C1A9472B}"/>
    <dgm:cxn modelId="{CA455B9A-D6F8-45D2-B655-716BF95F6622}" srcId="{CC6AED77-690B-4FA6-9996-D24DC2D85158}" destId="{F3955470-C756-4BF5-8297-55BB7979B8C9}" srcOrd="0" destOrd="0" parTransId="{F1E2187E-4035-4508-83B1-9382CF8F5BD9}" sibTransId="{FE3BB8FA-3C87-4A40-B520-FA9D436A99D5}"/>
    <dgm:cxn modelId="{44DC2BDB-3144-4AA6-81C4-D7598CC17008}" srcId="{B0211F14-E178-442B-BCC3-FEC11CD32A28}" destId="{46BB0B94-BF74-4931-A08B-7D8A486A1556}" srcOrd="7" destOrd="0" parTransId="{D376F8CF-34A2-4C30-8F06-8D763E5CE458}" sibTransId="{0A7E3921-4FBC-4267-BDE9-019CDD40E983}"/>
    <dgm:cxn modelId="{07785B9B-2AAD-42AC-921B-B4C337FA0296}" type="presOf" srcId="{CFED5667-BABE-45C0-B9A9-6F5E25A9D1E8}" destId="{5C919D79-4EE6-48D8-A3B5-96B95D5F1B4A}" srcOrd="0" destOrd="1" presId="urn:microsoft.com/office/officeart/2005/8/layout/default#1"/>
    <dgm:cxn modelId="{E704B650-914A-4B19-BCC3-69E00DB369D6}" type="presOf" srcId="{2FB7351D-4BB1-4543-A591-9CDAB5F49726}" destId="{99EBB280-35FF-4985-AD72-142BC51A1744}" srcOrd="0" destOrd="1" presId="urn:microsoft.com/office/officeart/2005/8/layout/default#1"/>
    <dgm:cxn modelId="{A176AF16-4A6A-44A5-B5A8-B3D4253B2A0B}" type="presOf" srcId="{A427486C-585A-436A-93B1-8E0743ED449F}" destId="{492C60C7-940A-48E4-92CA-5C333A951829}" srcOrd="0" destOrd="1" presId="urn:microsoft.com/office/officeart/2005/8/layout/default#1"/>
    <dgm:cxn modelId="{9C7131B1-B403-42F1-8EEB-1195E3F79A9B}" type="presOf" srcId="{8CC78A26-F146-411C-8455-EAC44E4A4C55}" destId="{99AB3E69-CF6C-4396-BD14-6DA843B09678}" srcOrd="0" destOrd="0" presId="urn:microsoft.com/office/officeart/2005/8/layout/default#1"/>
    <dgm:cxn modelId="{11671953-1B24-4AA9-8B6F-3FAA4CB06143}" srcId="{B0211F14-E178-442B-BCC3-FEC11CD32A28}" destId="{B04CF45A-1980-48B3-967B-20306E49C344}" srcOrd="6" destOrd="0" parTransId="{1875E05B-89D8-4AF1-B024-1F6B86A0A4C8}" sibTransId="{423DF419-458D-455E-BC79-AACD5906C884}"/>
    <dgm:cxn modelId="{1CE9E7A0-DF0D-4E31-AA88-485E21333583}" type="presOf" srcId="{60089FDD-F75E-42FD-A35B-3FE8B128A865}" destId="{99AB3E69-CF6C-4396-BD14-6DA843B09678}" srcOrd="0" destOrd="2" presId="urn:microsoft.com/office/officeart/2005/8/layout/default#1"/>
    <dgm:cxn modelId="{83F5466F-C830-4C6C-A143-0846311252B1}" type="presOf" srcId="{BFBDA03E-CE26-4193-8676-BB85849C2609}" destId="{5C919D79-4EE6-48D8-A3B5-96B95D5F1B4A}" srcOrd="0" destOrd="2" presId="urn:microsoft.com/office/officeart/2005/8/layout/default#1"/>
    <dgm:cxn modelId="{2F41EACD-DD69-4209-B369-7EC04F1ABF38}" srcId="{B0211F14-E178-442B-BCC3-FEC11CD32A28}" destId="{8CC78A26-F146-411C-8455-EAC44E4A4C55}" srcOrd="1" destOrd="0" parTransId="{63041B03-FFC8-4C92-BB83-0767B85283D8}" sibTransId="{0A929EB2-79C0-48DF-8637-21420AB35DD1}"/>
    <dgm:cxn modelId="{D77D9695-E8A9-44C0-8327-B2DFF506F26F}" srcId="{A55FE8C9-580D-4374-AC96-2A0CAC0FD5B7}" destId="{0F2D28AA-2F6C-4F3D-A67E-D90D2DBFA747}" srcOrd="0" destOrd="0" parTransId="{1341A02B-CB94-4FA4-8437-C87B1AA0ECE8}" sibTransId="{AA411A85-38A8-4A49-8544-64570FFBB8B3}"/>
    <dgm:cxn modelId="{FED55180-557B-4241-90F0-30BBCF053DC2}" type="presOf" srcId="{85BE9E91-0EC3-4EAC-9606-9ED100217B30}" destId="{492C60C7-940A-48E4-92CA-5C333A951829}" srcOrd="0" destOrd="0" presId="urn:microsoft.com/office/officeart/2005/8/layout/default#1"/>
    <dgm:cxn modelId="{9DE1954D-DB19-4A6D-A863-4546E56E0056}" type="presOf" srcId="{8BB8A423-0C6D-4AB8-AA91-D8F66FABA071}" destId="{99EBB280-35FF-4985-AD72-142BC51A1744}" srcOrd="0" destOrd="0" presId="urn:microsoft.com/office/officeart/2005/8/layout/default#1"/>
    <dgm:cxn modelId="{D13256C1-F405-491B-A898-E822A4A4FA31}" type="presOf" srcId="{B04CF45A-1980-48B3-967B-20306E49C344}" destId="{79B99989-1AB0-4F83-A1C8-B47D978DA6B7}" srcOrd="0" destOrd="0" presId="urn:microsoft.com/office/officeart/2005/8/layout/default#1"/>
    <dgm:cxn modelId="{53701864-A215-4076-A1D8-AD01B71B2F76}" srcId="{8BB8A423-0C6D-4AB8-AA91-D8F66FABA071}" destId="{2FB7351D-4BB1-4543-A591-9CDAB5F49726}" srcOrd="0" destOrd="0" parTransId="{E58C219C-FEA9-438C-9FC8-7E8333A0D541}" sibTransId="{2F12F367-1017-4367-88BE-ACB936A6B7B2}"/>
    <dgm:cxn modelId="{23559272-9AC5-44B7-A9C1-6470C29F423E}" type="presOf" srcId="{B0211F14-E178-442B-BCC3-FEC11CD32A28}" destId="{C4D0D06F-C05B-431D-816B-964F4DEFD25E}" srcOrd="0" destOrd="0" presId="urn:microsoft.com/office/officeart/2005/8/layout/default#1"/>
    <dgm:cxn modelId="{8DF6079C-9DDF-40D3-937C-AEF4196A3227}" type="presOf" srcId="{B0FC05E6-873F-46B8-B4E4-A1B19C7506AA}" destId="{492C60C7-940A-48E4-92CA-5C333A951829}" srcOrd="0" destOrd="2" presId="urn:microsoft.com/office/officeart/2005/8/layout/default#1"/>
    <dgm:cxn modelId="{51564713-CE58-43D7-A639-B4C5E63FEB2D}" srcId="{B0211F14-E178-442B-BCC3-FEC11CD32A28}" destId="{7C8A03DE-0540-45D1-9BB4-645694FC4121}" srcOrd="4" destOrd="0" parTransId="{87AB1263-A300-44FB-B034-2B680FCCF436}" sibTransId="{A89AB975-96A8-4FB1-A1CF-F7EFE6AC7377}"/>
    <dgm:cxn modelId="{6FC8CBE9-BD04-4137-8F07-80C56A2091F4}" type="presOf" srcId="{BD96EA6B-ABEA-4823-BA42-B782266EE231}" destId="{99AB3E69-CF6C-4396-BD14-6DA843B09678}" srcOrd="0" destOrd="1" presId="urn:microsoft.com/office/officeart/2005/8/layout/default#1"/>
    <dgm:cxn modelId="{AA53BCFB-B26D-493E-B976-E945BEE46422}" type="presOf" srcId="{7C8A03DE-0540-45D1-9BB4-645694FC4121}" destId="{D3A09A55-1C4A-4698-B95B-22A3FF4F8308}" srcOrd="0" destOrd="0" presId="urn:microsoft.com/office/officeart/2005/8/layout/default#1"/>
    <dgm:cxn modelId="{407F6250-42E4-48D7-BAB1-CF75F8766C18}" type="presOf" srcId="{46BB0B94-BF74-4931-A08B-7D8A486A1556}" destId="{5C919D79-4EE6-48D8-A3B5-96B95D5F1B4A}" srcOrd="0" destOrd="0" presId="urn:microsoft.com/office/officeart/2005/8/layout/default#1"/>
    <dgm:cxn modelId="{632410CB-0842-4AB8-ADE1-B4AEACDFED8E}" srcId="{B0211F14-E178-442B-BCC3-FEC11CD32A28}" destId="{A55FE8C9-580D-4374-AC96-2A0CAC0FD5B7}" srcOrd="5" destOrd="0" parTransId="{4B628BFF-C2A2-4471-A51B-028F4A11584F}" sibTransId="{C631C8E2-1880-4A4E-9AF2-E98EED8EAFD6}"/>
    <dgm:cxn modelId="{4EEE4433-5454-4691-912D-02FAD320317D}" srcId="{8CC78A26-F146-411C-8455-EAC44E4A4C55}" destId="{60089FDD-F75E-42FD-A35B-3FE8B128A865}" srcOrd="1" destOrd="0" parTransId="{3C930F20-1F24-40D0-8208-73A798762EAE}" sibTransId="{5A01A88A-133B-49E0-AE1B-B60AA6DB71A5}"/>
    <dgm:cxn modelId="{1151A087-B2CC-4F41-8CAC-2C6F141D0F9D}" srcId="{85BE9E91-0EC3-4EAC-9606-9ED100217B30}" destId="{A427486C-585A-436A-93B1-8E0743ED449F}" srcOrd="0" destOrd="0" parTransId="{1BB0F51E-376A-404A-BC60-DCA1E17FEFDA}" sibTransId="{5707EACF-3F29-4C5A-AEF8-59AA59D42FC9}"/>
    <dgm:cxn modelId="{08C70809-68CF-457C-9733-62144E5D161B}" srcId="{B0211F14-E178-442B-BCC3-FEC11CD32A28}" destId="{85BE9E91-0EC3-4EAC-9606-9ED100217B30}" srcOrd="0" destOrd="0" parTransId="{2EA61525-C261-475C-A37A-F6E6F6C5BA9C}" sibTransId="{A3601AAF-45DE-4F83-97E0-8627F349F0BE}"/>
    <dgm:cxn modelId="{D9919593-C366-4F0F-9CAB-2AE7E39FAEDE}" type="presOf" srcId="{CC6AED77-690B-4FA6-9996-D24DC2D85158}" destId="{159C08CA-105A-4CCF-8DFA-D0C117662B5A}" srcOrd="0" destOrd="0" presId="urn:microsoft.com/office/officeart/2005/8/layout/default#1"/>
    <dgm:cxn modelId="{B2E0AAE7-4FE3-47CD-B9DF-48C3E34EC90D}" srcId="{B04CF45A-1980-48B3-967B-20306E49C344}" destId="{AAA4DA81-CE5F-44EB-B63F-90AE06819960}" srcOrd="0" destOrd="0" parTransId="{DF22A7C4-B122-40E4-AA42-87E7E49B1F54}" sibTransId="{17C5392C-9FE9-4C91-BA8A-ED69862FCBE2}"/>
    <dgm:cxn modelId="{0BC05C17-BE7D-4E81-ACBE-848F07545C07}" type="presOf" srcId="{0F2D28AA-2F6C-4F3D-A67E-D90D2DBFA747}" destId="{1D283551-182D-4F32-BB67-81DDEEF65A1D}" srcOrd="0" destOrd="1" presId="urn:microsoft.com/office/officeart/2005/8/layout/default#1"/>
    <dgm:cxn modelId="{E3859061-6799-452D-BC90-B17D74A7E739}" type="presOf" srcId="{F3955470-C756-4BF5-8297-55BB7979B8C9}" destId="{159C08CA-105A-4CCF-8DFA-D0C117662B5A}" srcOrd="0" destOrd="1" presId="urn:microsoft.com/office/officeart/2005/8/layout/default#1"/>
    <dgm:cxn modelId="{36DC0F46-C903-4834-920E-F1B1496B3693}" srcId="{46BB0B94-BF74-4931-A08B-7D8A486A1556}" destId="{BFBDA03E-CE26-4193-8676-BB85849C2609}" srcOrd="1" destOrd="0" parTransId="{2F216C4E-CC0E-4E52-9FED-885CC3E2EECF}" sibTransId="{6E76AF3B-DD5B-4798-9D59-8D5796B30B83}"/>
    <dgm:cxn modelId="{254A959E-0FD2-46D8-9B5A-2160B6313909}" type="presOf" srcId="{AAA4DA81-CE5F-44EB-B63F-90AE06819960}" destId="{79B99989-1AB0-4F83-A1C8-B47D978DA6B7}" srcOrd="0" destOrd="1" presId="urn:microsoft.com/office/officeart/2005/8/layout/default#1"/>
    <dgm:cxn modelId="{B4ECD40F-F63E-4228-91D1-B9AE39F1E858}" srcId="{B0211F14-E178-442B-BCC3-FEC11CD32A28}" destId="{CC6AED77-690B-4FA6-9996-D24DC2D85158}" srcOrd="3" destOrd="0" parTransId="{CF4E0C89-17E6-4DAB-A142-74A29F6C5A5B}" sibTransId="{2F03B0F5-516E-4AE6-BF5E-FF5707DFD84A}"/>
    <dgm:cxn modelId="{DFDF7CDC-C7E8-40CD-AB26-F41E69EC9D55}" srcId="{46BB0B94-BF74-4931-A08B-7D8A486A1556}" destId="{CFED5667-BABE-45C0-B9A9-6F5E25A9D1E8}" srcOrd="0" destOrd="0" parTransId="{E6BEBDF0-BD50-43B0-93FF-4E324FC9C0A0}" sibTransId="{693D4A26-DABA-400C-B52A-053A7A12207A}"/>
    <dgm:cxn modelId="{644D14E1-5E27-4B91-8ECB-1A7E89CBD92D}" type="presOf" srcId="{35644AB3-A600-4A79-9DE1-F7B0E9C98D63}" destId="{D3A09A55-1C4A-4698-B95B-22A3FF4F8308}" srcOrd="0" destOrd="1" presId="urn:microsoft.com/office/officeart/2005/8/layout/default#1"/>
    <dgm:cxn modelId="{20B23796-44F4-4857-AC32-AF9CAFB9B66C}" srcId="{8BB8A423-0C6D-4AB8-AA91-D8F66FABA071}" destId="{39B122BE-7D86-453D-B1C9-23EF40085828}" srcOrd="1" destOrd="0" parTransId="{B02CFE3B-72B4-4AF3-8A07-B21AEBF2D2DD}" sibTransId="{0C394427-857F-4005-BC13-71DDED040469}"/>
    <dgm:cxn modelId="{E83DADB9-32AC-4211-8E6A-5E4C0E550A6E}" srcId="{8CC78A26-F146-411C-8455-EAC44E4A4C55}" destId="{BD96EA6B-ABEA-4823-BA42-B782266EE231}" srcOrd="0" destOrd="0" parTransId="{25DCBDCD-15D7-4455-9FA4-85FAB9DCFA17}" sibTransId="{7721987D-CF78-4464-8B0E-2774B825BD61}"/>
    <dgm:cxn modelId="{E150D835-E9D6-4EE1-B8CD-7015F1356596}" type="presOf" srcId="{39B122BE-7D86-453D-B1C9-23EF40085828}" destId="{99EBB280-35FF-4985-AD72-142BC51A1744}" srcOrd="0" destOrd="2" presId="urn:microsoft.com/office/officeart/2005/8/layout/default#1"/>
    <dgm:cxn modelId="{8254BCA5-FDAF-48FC-9AF4-60DBE8F71742}" type="presParOf" srcId="{C4D0D06F-C05B-431D-816B-964F4DEFD25E}" destId="{492C60C7-940A-48E4-92CA-5C333A951829}" srcOrd="0" destOrd="0" presId="urn:microsoft.com/office/officeart/2005/8/layout/default#1"/>
    <dgm:cxn modelId="{8D8E12F7-F128-490E-BE63-B92C8EA89FE1}" type="presParOf" srcId="{C4D0D06F-C05B-431D-816B-964F4DEFD25E}" destId="{75173F66-24C1-4A2C-B219-2622FD39BBB7}" srcOrd="1" destOrd="0" presId="urn:microsoft.com/office/officeart/2005/8/layout/default#1"/>
    <dgm:cxn modelId="{5E268104-6BF1-4333-BE13-49C0170A7523}" type="presParOf" srcId="{C4D0D06F-C05B-431D-816B-964F4DEFD25E}" destId="{99AB3E69-CF6C-4396-BD14-6DA843B09678}" srcOrd="2" destOrd="0" presId="urn:microsoft.com/office/officeart/2005/8/layout/default#1"/>
    <dgm:cxn modelId="{2ECC6EC4-98B3-4EC3-9B7B-36F869FA1D93}" type="presParOf" srcId="{C4D0D06F-C05B-431D-816B-964F4DEFD25E}" destId="{E801512A-CF4B-4AC9-B9F8-AE43D72B6ED8}" srcOrd="3" destOrd="0" presId="urn:microsoft.com/office/officeart/2005/8/layout/default#1"/>
    <dgm:cxn modelId="{E118DFB7-3767-451A-B70C-1405C4386925}" type="presParOf" srcId="{C4D0D06F-C05B-431D-816B-964F4DEFD25E}" destId="{99EBB280-35FF-4985-AD72-142BC51A1744}" srcOrd="4" destOrd="0" presId="urn:microsoft.com/office/officeart/2005/8/layout/default#1"/>
    <dgm:cxn modelId="{CD9ADECE-FC83-4EFA-A1E1-861DEAC54CB2}" type="presParOf" srcId="{C4D0D06F-C05B-431D-816B-964F4DEFD25E}" destId="{BF0D775C-8C05-4B58-9FC8-C3741A60873C}" srcOrd="5" destOrd="0" presId="urn:microsoft.com/office/officeart/2005/8/layout/default#1"/>
    <dgm:cxn modelId="{0ED1651C-B044-4FE1-A227-5D4304D268E0}" type="presParOf" srcId="{C4D0D06F-C05B-431D-816B-964F4DEFD25E}" destId="{159C08CA-105A-4CCF-8DFA-D0C117662B5A}" srcOrd="6" destOrd="0" presId="urn:microsoft.com/office/officeart/2005/8/layout/default#1"/>
    <dgm:cxn modelId="{C1948E45-E54C-4965-AA88-F3137B28C087}" type="presParOf" srcId="{C4D0D06F-C05B-431D-816B-964F4DEFD25E}" destId="{3DAB2C13-8D46-473B-AD0C-0FF6DBEAACE5}" srcOrd="7" destOrd="0" presId="urn:microsoft.com/office/officeart/2005/8/layout/default#1"/>
    <dgm:cxn modelId="{9AE76B34-CB49-4AC3-87F8-5A42643F9661}" type="presParOf" srcId="{C4D0D06F-C05B-431D-816B-964F4DEFD25E}" destId="{D3A09A55-1C4A-4698-B95B-22A3FF4F8308}" srcOrd="8" destOrd="0" presId="urn:microsoft.com/office/officeart/2005/8/layout/default#1"/>
    <dgm:cxn modelId="{30D66877-5696-4C2E-9057-4BC5B7D375A2}" type="presParOf" srcId="{C4D0D06F-C05B-431D-816B-964F4DEFD25E}" destId="{3B8235AC-1210-45F5-839E-2761144B1591}" srcOrd="9" destOrd="0" presId="urn:microsoft.com/office/officeart/2005/8/layout/default#1"/>
    <dgm:cxn modelId="{40DFB97F-F9A4-4F20-8125-77E5639FCF11}" type="presParOf" srcId="{C4D0D06F-C05B-431D-816B-964F4DEFD25E}" destId="{1D283551-182D-4F32-BB67-81DDEEF65A1D}" srcOrd="10" destOrd="0" presId="urn:microsoft.com/office/officeart/2005/8/layout/default#1"/>
    <dgm:cxn modelId="{24384AB1-F5AE-4F68-A924-6834FB1D93C8}" type="presParOf" srcId="{C4D0D06F-C05B-431D-816B-964F4DEFD25E}" destId="{DBC1BAF3-4689-49B8-AB6A-07438A5113F9}" srcOrd="11" destOrd="0" presId="urn:microsoft.com/office/officeart/2005/8/layout/default#1"/>
    <dgm:cxn modelId="{46D2ADC5-5422-42A9-BE3C-D2AEB36DA104}" type="presParOf" srcId="{C4D0D06F-C05B-431D-816B-964F4DEFD25E}" destId="{79B99989-1AB0-4F83-A1C8-B47D978DA6B7}" srcOrd="12" destOrd="0" presId="urn:microsoft.com/office/officeart/2005/8/layout/default#1"/>
    <dgm:cxn modelId="{2FCBBB6A-4D0A-41B9-BAF4-7F99C2D77B4F}" type="presParOf" srcId="{C4D0D06F-C05B-431D-816B-964F4DEFD25E}" destId="{7ECD4D68-554D-4CD3-B584-B43A1C6ECE1A}" srcOrd="13" destOrd="0" presId="urn:microsoft.com/office/officeart/2005/8/layout/default#1"/>
    <dgm:cxn modelId="{CE1A5D90-F095-4E03-B265-E4C78D84ED71}" type="presParOf" srcId="{C4D0D06F-C05B-431D-816B-964F4DEFD25E}" destId="{5C919D79-4EE6-48D8-A3B5-96B95D5F1B4A}" srcOrd="14" destOrd="0" presId="urn:microsoft.com/office/officeart/2005/8/layout/default#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F4734C5-B5CF-4FE9-B238-4E06735577CB}">
      <dsp:nvSpPr>
        <dsp:cNvPr id="0" name=""/>
        <dsp:cNvSpPr/>
      </dsp:nvSpPr>
      <dsp:spPr>
        <a:xfrm>
          <a:off x="6527326" y="1826657"/>
          <a:ext cx="322958" cy="304831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48313"/>
              </a:lnTo>
              <a:lnTo>
                <a:pt x="322958" y="304831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D219183-9F73-4F55-B29C-C002A874E742}">
      <dsp:nvSpPr>
        <dsp:cNvPr id="0" name=""/>
        <dsp:cNvSpPr/>
      </dsp:nvSpPr>
      <dsp:spPr>
        <a:xfrm>
          <a:off x="6527326" y="1826657"/>
          <a:ext cx="322958" cy="254308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43082"/>
              </a:lnTo>
              <a:lnTo>
                <a:pt x="322958" y="254308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DF7D20-97CE-45B5-8272-1D8DFBF4322E}">
      <dsp:nvSpPr>
        <dsp:cNvPr id="0" name=""/>
        <dsp:cNvSpPr/>
      </dsp:nvSpPr>
      <dsp:spPr>
        <a:xfrm>
          <a:off x="6527326" y="1826657"/>
          <a:ext cx="322958" cy="20378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37850"/>
              </a:lnTo>
              <a:lnTo>
                <a:pt x="322958" y="203785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628582-088E-42FA-B6EC-953F652565B0}">
      <dsp:nvSpPr>
        <dsp:cNvPr id="0" name=""/>
        <dsp:cNvSpPr/>
      </dsp:nvSpPr>
      <dsp:spPr>
        <a:xfrm>
          <a:off x="6527326" y="1826657"/>
          <a:ext cx="322958" cy="153261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32618"/>
              </a:lnTo>
              <a:lnTo>
                <a:pt x="322958" y="153261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E82B1A-B1F2-4CC5-9B64-B60015CBF624}">
      <dsp:nvSpPr>
        <dsp:cNvPr id="0" name=""/>
        <dsp:cNvSpPr/>
      </dsp:nvSpPr>
      <dsp:spPr>
        <a:xfrm>
          <a:off x="6527326" y="1826657"/>
          <a:ext cx="322958" cy="102738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27387"/>
              </a:lnTo>
              <a:lnTo>
                <a:pt x="322958" y="1027387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DC7120-FE6F-49D8-95F2-AB1B2B6AC9A8}">
      <dsp:nvSpPr>
        <dsp:cNvPr id="0" name=""/>
        <dsp:cNvSpPr/>
      </dsp:nvSpPr>
      <dsp:spPr>
        <a:xfrm>
          <a:off x="6527326" y="1826657"/>
          <a:ext cx="322958" cy="4372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37294"/>
              </a:lnTo>
              <a:lnTo>
                <a:pt x="322958" y="43729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E1ECB8B-3B17-4C2A-B0D6-F3E2F1F738C2}">
      <dsp:nvSpPr>
        <dsp:cNvPr id="0" name=""/>
        <dsp:cNvSpPr/>
      </dsp:nvSpPr>
      <dsp:spPr>
        <a:xfrm>
          <a:off x="6884814" y="1151703"/>
          <a:ext cx="148632" cy="1996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9817"/>
              </a:lnTo>
              <a:lnTo>
                <a:pt x="148632" y="99817"/>
              </a:lnTo>
              <a:lnTo>
                <a:pt x="148632" y="19963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A0029C3-AE83-4316-8033-59A2BC4BA550}">
      <dsp:nvSpPr>
        <dsp:cNvPr id="0" name=""/>
        <dsp:cNvSpPr/>
      </dsp:nvSpPr>
      <dsp:spPr>
        <a:xfrm>
          <a:off x="4927134" y="1826657"/>
          <a:ext cx="137063" cy="9567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56797"/>
              </a:lnTo>
              <a:lnTo>
                <a:pt x="137063" y="956797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3F6E978-95D0-49EC-8802-EBBBC8209E5D}">
      <dsp:nvSpPr>
        <dsp:cNvPr id="0" name=""/>
        <dsp:cNvSpPr/>
      </dsp:nvSpPr>
      <dsp:spPr>
        <a:xfrm>
          <a:off x="5433254" y="1151703"/>
          <a:ext cx="1451560" cy="199634"/>
        </a:xfrm>
        <a:custGeom>
          <a:avLst/>
          <a:gdLst/>
          <a:ahLst/>
          <a:cxnLst/>
          <a:rect l="0" t="0" r="0" b="0"/>
          <a:pathLst>
            <a:path>
              <a:moveTo>
                <a:pt x="1451560" y="0"/>
              </a:moveTo>
              <a:lnTo>
                <a:pt x="1451560" y="99817"/>
              </a:lnTo>
              <a:lnTo>
                <a:pt x="0" y="99817"/>
              </a:lnTo>
              <a:lnTo>
                <a:pt x="0" y="19963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37CAE9-66E1-459B-A733-9B53B02E07AF}">
      <dsp:nvSpPr>
        <dsp:cNvPr id="0" name=""/>
        <dsp:cNvSpPr/>
      </dsp:nvSpPr>
      <dsp:spPr>
        <a:xfrm>
          <a:off x="3638099" y="476749"/>
          <a:ext cx="3246714" cy="1996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9817"/>
              </a:lnTo>
              <a:lnTo>
                <a:pt x="3246714" y="99817"/>
              </a:lnTo>
              <a:lnTo>
                <a:pt x="3246714" y="19963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A94D9E8-C2A3-4765-9477-D710CC646957}">
      <dsp:nvSpPr>
        <dsp:cNvPr id="0" name=""/>
        <dsp:cNvSpPr/>
      </dsp:nvSpPr>
      <dsp:spPr>
        <a:xfrm>
          <a:off x="2636155" y="1440431"/>
          <a:ext cx="513491" cy="31323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132343"/>
              </a:lnTo>
              <a:lnTo>
                <a:pt x="513491" y="313234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4D3FE4-1739-4B3C-ACD2-597D18FBC50F}">
      <dsp:nvSpPr>
        <dsp:cNvPr id="0" name=""/>
        <dsp:cNvSpPr/>
      </dsp:nvSpPr>
      <dsp:spPr>
        <a:xfrm>
          <a:off x="2636155" y="1440431"/>
          <a:ext cx="252617" cy="235495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54957"/>
              </a:lnTo>
              <a:lnTo>
                <a:pt x="252617" y="2354957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E10A4AF-D8A8-4F2D-9661-56E5DBB5B2C5}">
      <dsp:nvSpPr>
        <dsp:cNvPr id="0" name=""/>
        <dsp:cNvSpPr/>
      </dsp:nvSpPr>
      <dsp:spPr>
        <a:xfrm>
          <a:off x="2636155" y="1440431"/>
          <a:ext cx="252617" cy="157757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77572"/>
              </a:lnTo>
              <a:lnTo>
                <a:pt x="252617" y="157757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C07306D-4BD7-4477-BB61-A954489058D6}">
      <dsp:nvSpPr>
        <dsp:cNvPr id="0" name=""/>
        <dsp:cNvSpPr/>
      </dsp:nvSpPr>
      <dsp:spPr>
        <a:xfrm>
          <a:off x="2636155" y="1440431"/>
          <a:ext cx="252617" cy="85508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55086"/>
              </a:lnTo>
              <a:lnTo>
                <a:pt x="252617" y="85508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6956835-3386-449C-A89B-65F7C680246D}">
      <dsp:nvSpPr>
        <dsp:cNvPr id="0" name=""/>
        <dsp:cNvSpPr/>
      </dsp:nvSpPr>
      <dsp:spPr>
        <a:xfrm>
          <a:off x="3309801" y="476749"/>
          <a:ext cx="328298" cy="440830"/>
        </a:xfrm>
        <a:custGeom>
          <a:avLst/>
          <a:gdLst/>
          <a:ahLst/>
          <a:cxnLst/>
          <a:rect l="0" t="0" r="0" b="0"/>
          <a:pathLst>
            <a:path>
              <a:moveTo>
                <a:pt x="328298" y="0"/>
              </a:moveTo>
              <a:lnTo>
                <a:pt x="328298" y="341013"/>
              </a:lnTo>
              <a:lnTo>
                <a:pt x="0" y="341013"/>
              </a:lnTo>
              <a:lnTo>
                <a:pt x="0" y="44083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F00A05E-81E0-4C4F-9FC9-0B1D7BC7DE00}">
      <dsp:nvSpPr>
        <dsp:cNvPr id="0" name=""/>
        <dsp:cNvSpPr/>
      </dsp:nvSpPr>
      <dsp:spPr>
        <a:xfrm>
          <a:off x="430167" y="1285658"/>
          <a:ext cx="204876" cy="32535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53516"/>
              </a:lnTo>
              <a:lnTo>
                <a:pt x="204876" y="325351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C84909-550F-4BDC-8966-B86E5E1786AE}">
      <dsp:nvSpPr>
        <dsp:cNvPr id="0" name=""/>
        <dsp:cNvSpPr/>
      </dsp:nvSpPr>
      <dsp:spPr>
        <a:xfrm>
          <a:off x="430167" y="1285658"/>
          <a:ext cx="204876" cy="253103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31030"/>
              </a:lnTo>
              <a:lnTo>
                <a:pt x="204876" y="253103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B3E9C0-0CE1-4B88-9E71-F7CE1A7F99D7}">
      <dsp:nvSpPr>
        <dsp:cNvPr id="0" name=""/>
        <dsp:cNvSpPr/>
      </dsp:nvSpPr>
      <dsp:spPr>
        <a:xfrm>
          <a:off x="430167" y="1285658"/>
          <a:ext cx="204876" cy="180854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08544"/>
              </a:lnTo>
              <a:lnTo>
                <a:pt x="204876" y="180854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83ED5F7-10A0-45C9-B814-5804FA76917E}">
      <dsp:nvSpPr>
        <dsp:cNvPr id="0" name=""/>
        <dsp:cNvSpPr/>
      </dsp:nvSpPr>
      <dsp:spPr>
        <a:xfrm>
          <a:off x="430167" y="1285658"/>
          <a:ext cx="204876" cy="10860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86058"/>
              </a:lnTo>
              <a:lnTo>
                <a:pt x="204876" y="108605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3BC68A0-CABF-4126-884C-C90818E1E26E}">
      <dsp:nvSpPr>
        <dsp:cNvPr id="0" name=""/>
        <dsp:cNvSpPr/>
      </dsp:nvSpPr>
      <dsp:spPr>
        <a:xfrm>
          <a:off x="1103813" y="476749"/>
          <a:ext cx="2534286" cy="286056"/>
        </a:xfrm>
        <a:custGeom>
          <a:avLst/>
          <a:gdLst/>
          <a:ahLst/>
          <a:cxnLst/>
          <a:rect l="0" t="0" r="0" b="0"/>
          <a:pathLst>
            <a:path>
              <a:moveTo>
                <a:pt x="2534286" y="0"/>
              </a:moveTo>
              <a:lnTo>
                <a:pt x="2534286" y="186239"/>
              </a:lnTo>
              <a:lnTo>
                <a:pt x="0" y="186239"/>
              </a:lnTo>
              <a:lnTo>
                <a:pt x="0" y="28605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D90FEA-3135-49C2-A3C0-CFEDDC6405B3}">
      <dsp:nvSpPr>
        <dsp:cNvPr id="0" name=""/>
        <dsp:cNvSpPr/>
      </dsp:nvSpPr>
      <dsp:spPr>
        <a:xfrm>
          <a:off x="2780399" y="1429"/>
          <a:ext cx="1715400" cy="47531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err="1" smtClean="0"/>
            <a:t>Modifiabilty</a:t>
          </a:r>
          <a:endParaRPr lang="en-US" sz="2000" kern="1200" dirty="0"/>
        </a:p>
      </dsp:txBody>
      <dsp:txXfrm>
        <a:off x="2780399" y="1429"/>
        <a:ext cx="1715400" cy="475319"/>
      </dsp:txXfrm>
    </dsp:sp>
    <dsp:sp modelId="{5E5C4910-D5C2-4117-9825-0F4E2308A1D4}">
      <dsp:nvSpPr>
        <dsp:cNvPr id="0" name=""/>
        <dsp:cNvSpPr/>
      </dsp:nvSpPr>
      <dsp:spPr>
        <a:xfrm>
          <a:off x="261755" y="762806"/>
          <a:ext cx="1684115" cy="52285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Increase Cohesion</a:t>
          </a:r>
          <a:endParaRPr lang="en-US" sz="1400" kern="1200" dirty="0"/>
        </a:p>
      </dsp:txBody>
      <dsp:txXfrm>
        <a:off x="261755" y="762806"/>
        <a:ext cx="1684115" cy="522851"/>
      </dsp:txXfrm>
    </dsp:sp>
    <dsp:sp modelId="{1064D61A-5C37-497D-A6F5-6312AB6E3F5A}">
      <dsp:nvSpPr>
        <dsp:cNvPr id="0" name=""/>
        <dsp:cNvSpPr/>
      </dsp:nvSpPr>
      <dsp:spPr>
        <a:xfrm>
          <a:off x="635043" y="2110290"/>
          <a:ext cx="1684115" cy="52285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Factoring common service</a:t>
          </a:r>
          <a:endParaRPr lang="en-US" sz="1400" kern="1200" dirty="0"/>
        </a:p>
      </dsp:txBody>
      <dsp:txXfrm>
        <a:off x="635043" y="2110290"/>
        <a:ext cx="1684115" cy="522851"/>
      </dsp:txXfrm>
    </dsp:sp>
    <dsp:sp modelId="{A77E27D0-EFD7-495B-9E1A-5A5371B8AB84}">
      <dsp:nvSpPr>
        <dsp:cNvPr id="0" name=""/>
        <dsp:cNvSpPr/>
      </dsp:nvSpPr>
      <dsp:spPr>
        <a:xfrm>
          <a:off x="635043" y="2832776"/>
          <a:ext cx="1684115" cy="52285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Anticipate change</a:t>
          </a:r>
          <a:endParaRPr lang="en-US" sz="1400" kern="1200" dirty="0"/>
        </a:p>
      </dsp:txBody>
      <dsp:txXfrm>
        <a:off x="635043" y="2832776"/>
        <a:ext cx="1684115" cy="522851"/>
      </dsp:txXfrm>
    </dsp:sp>
    <dsp:sp modelId="{984A4F3B-0A00-4E5A-9092-1922B8A7FAB3}">
      <dsp:nvSpPr>
        <dsp:cNvPr id="0" name=""/>
        <dsp:cNvSpPr/>
      </dsp:nvSpPr>
      <dsp:spPr>
        <a:xfrm>
          <a:off x="635043" y="3555262"/>
          <a:ext cx="1684115" cy="52285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Generalize module</a:t>
          </a:r>
          <a:endParaRPr lang="en-US" sz="1400" kern="1200" dirty="0"/>
        </a:p>
      </dsp:txBody>
      <dsp:txXfrm>
        <a:off x="635043" y="3555262"/>
        <a:ext cx="1684115" cy="522851"/>
      </dsp:txXfrm>
    </dsp:sp>
    <dsp:sp modelId="{BA6AC4DB-0F64-47C4-8289-FB0923B8558A}">
      <dsp:nvSpPr>
        <dsp:cNvPr id="0" name=""/>
        <dsp:cNvSpPr/>
      </dsp:nvSpPr>
      <dsp:spPr>
        <a:xfrm>
          <a:off x="635043" y="4277748"/>
          <a:ext cx="1684115" cy="52285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Limit possible options</a:t>
          </a:r>
          <a:endParaRPr lang="en-US" sz="1400" kern="1200" dirty="0"/>
        </a:p>
      </dsp:txBody>
      <dsp:txXfrm>
        <a:off x="635043" y="4277748"/>
        <a:ext cx="1684115" cy="522851"/>
      </dsp:txXfrm>
    </dsp:sp>
    <dsp:sp modelId="{F0ED6141-24DB-4164-A2D4-B51E750525CD}">
      <dsp:nvSpPr>
        <dsp:cNvPr id="0" name=""/>
        <dsp:cNvSpPr/>
      </dsp:nvSpPr>
      <dsp:spPr>
        <a:xfrm>
          <a:off x="2467743" y="917580"/>
          <a:ext cx="1684115" cy="52285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Reduce Coupling</a:t>
          </a:r>
          <a:endParaRPr lang="en-US" sz="1400" kern="1200" dirty="0"/>
        </a:p>
      </dsp:txBody>
      <dsp:txXfrm>
        <a:off x="2467743" y="917580"/>
        <a:ext cx="1684115" cy="522851"/>
      </dsp:txXfrm>
    </dsp:sp>
    <dsp:sp modelId="{CBCDE87F-FA6C-44B8-A9C2-1E747BE7F736}">
      <dsp:nvSpPr>
        <dsp:cNvPr id="0" name=""/>
        <dsp:cNvSpPr/>
      </dsp:nvSpPr>
      <dsp:spPr>
        <a:xfrm>
          <a:off x="2888772" y="2034092"/>
          <a:ext cx="1684115" cy="52285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Hide Information</a:t>
          </a:r>
          <a:endParaRPr lang="en-US" sz="1400" kern="1200" dirty="0"/>
        </a:p>
      </dsp:txBody>
      <dsp:txXfrm>
        <a:off x="2888772" y="2034092"/>
        <a:ext cx="1684115" cy="522851"/>
      </dsp:txXfrm>
    </dsp:sp>
    <dsp:sp modelId="{5D0F02D1-4A23-4B53-AF4F-3529BE69829E}">
      <dsp:nvSpPr>
        <dsp:cNvPr id="0" name=""/>
        <dsp:cNvSpPr/>
      </dsp:nvSpPr>
      <dsp:spPr>
        <a:xfrm>
          <a:off x="2888772" y="2756578"/>
          <a:ext cx="1684115" cy="52285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Maintain Existing Interface</a:t>
          </a:r>
          <a:endParaRPr lang="en-US" sz="1400" kern="1200" dirty="0"/>
        </a:p>
      </dsp:txBody>
      <dsp:txXfrm>
        <a:off x="2888772" y="2756578"/>
        <a:ext cx="1684115" cy="522851"/>
      </dsp:txXfrm>
    </dsp:sp>
    <dsp:sp modelId="{7BABB840-5689-4566-85C9-55C4A127C4C6}">
      <dsp:nvSpPr>
        <dsp:cNvPr id="0" name=""/>
        <dsp:cNvSpPr/>
      </dsp:nvSpPr>
      <dsp:spPr>
        <a:xfrm>
          <a:off x="2888772" y="3479064"/>
          <a:ext cx="1684115" cy="6326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Restrict Communication Paths and dependencies</a:t>
          </a:r>
          <a:endParaRPr lang="en-US" sz="1400" kern="1200" dirty="0"/>
        </a:p>
      </dsp:txBody>
      <dsp:txXfrm>
        <a:off x="2888772" y="3479064"/>
        <a:ext cx="1684115" cy="632650"/>
      </dsp:txXfrm>
    </dsp:sp>
    <dsp:sp modelId="{50D60845-A14B-4DD0-8DB4-8B07FEB31A21}">
      <dsp:nvSpPr>
        <dsp:cNvPr id="0" name=""/>
        <dsp:cNvSpPr/>
      </dsp:nvSpPr>
      <dsp:spPr>
        <a:xfrm>
          <a:off x="3149647" y="4311349"/>
          <a:ext cx="1684115" cy="52285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Use intermediary between modules</a:t>
          </a:r>
          <a:endParaRPr lang="en-US" sz="1400" kern="1200" dirty="0"/>
        </a:p>
      </dsp:txBody>
      <dsp:txXfrm>
        <a:off x="3149647" y="4311349"/>
        <a:ext cx="1684115" cy="522851"/>
      </dsp:txXfrm>
    </dsp:sp>
    <dsp:sp modelId="{A5F2589C-C16C-45F2-9A3D-F2A6CB2476D1}">
      <dsp:nvSpPr>
        <dsp:cNvPr id="0" name=""/>
        <dsp:cNvSpPr/>
      </dsp:nvSpPr>
      <dsp:spPr>
        <a:xfrm>
          <a:off x="6042757" y="676383"/>
          <a:ext cx="1684115" cy="47531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Defer binding</a:t>
          </a:r>
          <a:endParaRPr lang="en-US" sz="1400" kern="1200" dirty="0"/>
        </a:p>
      </dsp:txBody>
      <dsp:txXfrm>
        <a:off x="6042757" y="676383"/>
        <a:ext cx="1684115" cy="475319"/>
      </dsp:txXfrm>
    </dsp:sp>
    <dsp:sp modelId="{7001C0C6-E80B-4DDC-8CC5-73BD56ED162E}">
      <dsp:nvSpPr>
        <dsp:cNvPr id="0" name=""/>
        <dsp:cNvSpPr/>
      </dsp:nvSpPr>
      <dsp:spPr>
        <a:xfrm>
          <a:off x="4800603" y="1351337"/>
          <a:ext cx="1265301" cy="47531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Compile time</a:t>
          </a:r>
          <a:endParaRPr lang="en-US" sz="1400" kern="1200" dirty="0"/>
        </a:p>
      </dsp:txBody>
      <dsp:txXfrm>
        <a:off x="4800603" y="1351337"/>
        <a:ext cx="1265301" cy="475319"/>
      </dsp:txXfrm>
    </dsp:sp>
    <dsp:sp modelId="{831720FA-D5E3-4C7F-A57E-CFE8CC23F338}">
      <dsp:nvSpPr>
        <dsp:cNvPr id="0" name=""/>
        <dsp:cNvSpPr/>
      </dsp:nvSpPr>
      <dsp:spPr>
        <a:xfrm>
          <a:off x="5064197" y="2493184"/>
          <a:ext cx="1145824" cy="58054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smtClean="0"/>
            <a:t>Component replacement</a:t>
          </a:r>
          <a:endParaRPr lang="en-US" sz="1400" kern="1200" dirty="0"/>
        </a:p>
      </dsp:txBody>
      <dsp:txXfrm>
        <a:off x="5064197" y="2493184"/>
        <a:ext cx="1145824" cy="580541"/>
      </dsp:txXfrm>
    </dsp:sp>
    <dsp:sp modelId="{3F3A1C94-9E4D-49E6-8EF8-C7EE7891622E}">
      <dsp:nvSpPr>
        <dsp:cNvPr id="0" name=""/>
        <dsp:cNvSpPr/>
      </dsp:nvSpPr>
      <dsp:spPr>
        <a:xfrm>
          <a:off x="6400796" y="1351337"/>
          <a:ext cx="1265301" cy="47531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Runtime</a:t>
          </a:r>
          <a:endParaRPr lang="en-US" sz="1400" kern="1200" dirty="0"/>
        </a:p>
      </dsp:txBody>
      <dsp:txXfrm>
        <a:off x="6400796" y="1351337"/>
        <a:ext cx="1265301" cy="475319"/>
      </dsp:txXfrm>
    </dsp:sp>
    <dsp:sp modelId="{6E033C69-6BA8-4812-AE4E-0022A986E944}">
      <dsp:nvSpPr>
        <dsp:cNvPr id="0" name=""/>
        <dsp:cNvSpPr/>
      </dsp:nvSpPr>
      <dsp:spPr>
        <a:xfrm>
          <a:off x="6850284" y="2026292"/>
          <a:ext cx="1684115" cy="47531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Runtime registration</a:t>
          </a:r>
          <a:endParaRPr lang="en-US" sz="1400" kern="1200" dirty="0"/>
        </a:p>
      </dsp:txBody>
      <dsp:txXfrm>
        <a:off x="6850284" y="2026292"/>
        <a:ext cx="1684115" cy="475319"/>
      </dsp:txXfrm>
    </dsp:sp>
    <dsp:sp modelId="{428A54D9-43F6-47B6-B3A2-FDCE09CB5A97}">
      <dsp:nvSpPr>
        <dsp:cNvPr id="0" name=""/>
        <dsp:cNvSpPr/>
      </dsp:nvSpPr>
      <dsp:spPr>
        <a:xfrm>
          <a:off x="6850284" y="2701246"/>
          <a:ext cx="1684115" cy="30559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Configuration files</a:t>
          </a:r>
          <a:endParaRPr lang="en-US" sz="1400" kern="1200" dirty="0"/>
        </a:p>
      </dsp:txBody>
      <dsp:txXfrm>
        <a:off x="6850284" y="2701246"/>
        <a:ext cx="1684115" cy="305597"/>
      </dsp:txXfrm>
    </dsp:sp>
    <dsp:sp modelId="{93507A0E-B606-4F7A-9C01-283769128FF2}">
      <dsp:nvSpPr>
        <dsp:cNvPr id="0" name=""/>
        <dsp:cNvSpPr/>
      </dsp:nvSpPr>
      <dsp:spPr>
        <a:xfrm>
          <a:off x="6850284" y="3206477"/>
          <a:ext cx="1684115" cy="30559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Polymorphism</a:t>
          </a:r>
          <a:endParaRPr lang="en-US" sz="1400" kern="1200" dirty="0"/>
        </a:p>
      </dsp:txBody>
      <dsp:txXfrm>
        <a:off x="6850284" y="3206477"/>
        <a:ext cx="1684115" cy="305597"/>
      </dsp:txXfrm>
    </dsp:sp>
    <dsp:sp modelId="{B48C34C0-3268-4BDA-9392-41361EEA60C6}">
      <dsp:nvSpPr>
        <dsp:cNvPr id="0" name=""/>
        <dsp:cNvSpPr/>
      </dsp:nvSpPr>
      <dsp:spPr>
        <a:xfrm>
          <a:off x="6850284" y="3711709"/>
          <a:ext cx="1684115" cy="30559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Dynamic lookup</a:t>
          </a:r>
          <a:endParaRPr lang="en-US" sz="1400" kern="1200" dirty="0"/>
        </a:p>
      </dsp:txBody>
      <dsp:txXfrm>
        <a:off x="6850284" y="3711709"/>
        <a:ext cx="1684115" cy="305597"/>
      </dsp:txXfrm>
    </dsp:sp>
    <dsp:sp modelId="{FCA045DB-109B-4BD9-8B5B-936265CC06EC}">
      <dsp:nvSpPr>
        <dsp:cNvPr id="0" name=""/>
        <dsp:cNvSpPr/>
      </dsp:nvSpPr>
      <dsp:spPr>
        <a:xfrm>
          <a:off x="6850284" y="4216941"/>
          <a:ext cx="1684115" cy="30559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Plugin</a:t>
          </a:r>
          <a:endParaRPr lang="en-US" sz="1400" kern="1200" dirty="0"/>
        </a:p>
      </dsp:txBody>
      <dsp:txXfrm>
        <a:off x="6850284" y="4216941"/>
        <a:ext cx="1684115" cy="305597"/>
      </dsp:txXfrm>
    </dsp:sp>
    <dsp:sp modelId="{FDAB9EF4-76C4-48A1-91FB-3230EB6A752A}">
      <dsp:nvSpPr>
        <dsp:cNvPr id="0" name=""/>
        <dsp:cNvSpPr/>
      </dsp:nvSpPr>
      <dsp:spPr>
        <a:xfrm>
          <a:off x="6850284" y="4722173"/>
          <a:ext cx="1684115" cy="30559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Publish-subscribe</a:t>
          </a:r>
          <a:endParaRPr lang="en-US" sz="1400" kern="1200" dirty="0"/>
        </a:p>
      </dsp:txBody>
      <dsp:txXfrm>
        <a:off x="6850284" y="4722173"/>
        <a:ext cx="1684115" cy="305597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92C60C7-940A-48E4-92CA-5C333A951829}">
      <dsp:nvSpPr>
        <dsp:cNvPr id="0" name=""/>
        <dsp:cNvSpPr/>
      </dsp:nvSpPr>
      <dsp:spPr>
        <a:xfrm>
          <a:off x="152404" y="299789"/>
          <a:ext cx="2682439" cy="1429732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Syntax 	(</a:t>
          </a:r>
          <a:r>
            <a:rPr lang="en-US" sz="1800" kern="1200" dirty="0" err="1" smtClean="0"/>
            <a:t>c</a:t>
          </a:r>
          <a:r>
            <a:rPr lang="en-US" sz="1600" kern="1200" dirty="0" err="1" smtClean="0"/>
            <a:t>ompile+runtime</a:t>
          </a:r>
          <a:r>
            <a:rPr lang="en-US" sz="2000" kern="1200" dirty="0" smtClean="0"/>
            <a:t>)</a:t>
          </a:r>
          <a:endParaRPr lang="en-US" sz="2000" kern="1200" dirty="0"/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Data : B uses the type/format of the data created by A</a:t>
          </a:r>
          <a:endParaRPr lang="en-US" sz="1400" kern="1200" dirty="0"/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Service B uses the API signature provided by A</a:t>
          </a:r>
          <a:endParaRPr lang="en-US" sz="1400" kern="1200" dirty="0"/>
        </a:p>
      </dsp:txBody>
      <dsp:txXfrm>
        <a:off x="152404" y="299789"/>
        <a:ext cx="2682439" cy="1429732"/>
      </dsp:txXfrm>
    </dsp:sp>
    <dsp:sp modelId="{99AB3E69-CF6C-4396-BD14-6DA843B09678}">
      <dsp:nvSpPr>
        <dsp:cNvPr id="0" name=""/>
        <dsp:cNvSpPr/>
      </dsp:nvSpPr>
      <dsp:spPr>
        <a:xfrm>
          <a:off x="3073132" y="299789"/>
          <a:ext cx="2382887" cy="1429732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smtClean="0"/>
            <a:t>Semantics of A</a:t>
          </a:r>
          <a:endParaRPr lang="en-US" sz="1800" kern="1200" dirty="0"/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Data: Semantics of data created by A should be consistent with the assumption made by B</a:t>
          </a:r>
          <a:endParaRPr lang="en-US" sz="1400" kern="1200" dirty="0"/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Service: Same …..</a:t>
          </a:r>
          <a:endParaRPr lang="en-US" sz="1400" kern="1200" dirty="0"/>
        </a:p>
      </dsp:txBody>
      <dsp:txXfrm>
        <a:off x="3073132" y="299789"/>
        <a:ext cx="2382887" cy="1429732"/>
      </dsp:txXfrm>
    </dsp:sp>
    <dsp:sp modelId="{99EBB280-35FF-4985-AD72-142BC51A1744}">
      <dsp:nvSpPr>
        <dsp:cNvPr id="0" name=""/>
        <dsp:cNvSpPr/>
      </dsp:nvSpPr>
      <dsp:spPr>
        <a:xfrm>
          <a:off x="5694308" y="2405"/>
          <a:ext cx="2382887" cy="2024500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Sequence </a:t>
          </a:r>
          <a:endParaRPr lang="en-US" sz="1800" kern="1200" dirty="0"/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Data -- data packets created by A should maintain the order as understood by B</a:t>
          </a:r>
          <a:endParaRPr lang="en-US" sz="1400" kern="1200" dirty="0"/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Control– A must execute 5ms before B. Or an API of A can be called only after calling another API</a:t>
          </a:r>
          <a:endParaRPr lang="en-US" sz="1400" kern="1200" dirty="0"/>
        </a:p>
      </dsp:txBody>
      <dsp:txXfrm>
        <a:off x="5694308" y="2405"/>
        <a:ext cx="2382887" cy="2024500"/>
      </dsp:txXfrm>
    </dsp:sp>
    <dsp:sp modelId="{159C08CA-105A-4CCF-8DFA-D0C117662B5A}">
      <dsp:nvSpPr>
        <dsp:cNvPr id="0" name=""/>
        <dsp:cNvSpPr/>
      </dsp:nvSpPr>
      <dsp:spPr>
        <a:xfrm>
          <a:off x="302180" y="2285997"/>
          <a:ext cx="2382887" cy="1299755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Interface identity</a:t>
          </a:r>
          <a:endParaRPr lang="en-US" sz="1800" kern="1200" dirty="0"/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Handle of A must be consistent with B, if A maintains multiple interfaces</a:t>
          </a:r>
          <a:endParaRPr lang="en-US" sz="1400" kern="1200" dirty="0"/>
        </a:p>
      </dsp:txBody>
      <dsp:txXfrm>
        <a:off x="302180" y="2285997"/>
        <a:ext cx="2382887" cy="1299755"/>
      </dsp:txXfrm>
    </dsp:sp>
    <dsp:sp modelId="{D3A09A55-1C4A-4698-B95B-22A3FF4F8308}">
      <dsp:nvSpPr>
        <dsp:cNvPr id="0" name=""/>
        <dsp:cNvSpPr/>
      </dsp:nvSpPr>
      <dsp:spPr>
        <a:xfrm>
          <a:off x="2923356" y="2285997"/>
          <a:ext cx="2382887" cy="1299755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Location of A</a:t>
          </a:r>
          <a:endParaRPr lang="en-US" sz="1800" kern="1200" dirty="0"/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B may assume that A is in-process or in a different process, hardware..</a:t>
          </a:r>
          <a:endParaRPr lang="en-US" sz="1400" kern="1200" dirty="0"/>
        </a:p>
      </dsp:txBody>
      <dsp:txXfrm>
        <a:off x="2923356" y="2285997"/>
        <a:ext cx="2382887" cy="1299755"/>
      </dsp:txXfrm>
    </dsp:sp>
    <dsp:sp modelId="{1D283551-182D-4F32-BB67-81DDEEF65A1D}">
      <dsp:nvSpPr>
        <dsp:cNvPr id="0" name=""/>
        <dsp:cNvSpPr/>
      </dsp:nvSpPr>
      <dsp:spPr>
        <a:xfrm>
          <a:off x="5544532" y="2285997"/>
          <a:ext cx="2382887" cy="1299755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Quality of service/data provided by A</a:t>
          </a:r>
          <a:endParaRPr lang="en-US" sz="1800" kern="1200" dirty="0"/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Data quality produced by A must be &gt; some accuracy for B to work</a:t>
          </a:r>
          <a:endParaRPr lang="en-US" sz="1400" kern="1200" dirty="0"/>
        </a:p>
      </dsp:txBody>
      <dsp:txXfrm>
        <a:off x="5544532" y="2285997"/>
        <a:ext cx="2382887" cy="1299755"/>
      </dsp:txXfrm>
    </dsp:sp>
    <dsp:sp modelId="{79B99989-1AB0-4F83-A1C8-B47D978DA6B7}">
      <dsp:nvSpPr>
        <dsp:cNvPr id="0" name=""/>
        <dsp:cNvSpPr/>
      </dsp:nvSpPr>
      <dsp:spPr>
        <a:xfrm>
          <a:off x="1612768" y="3805644"/>
          <a:ext cx="2382887" cy="1299755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Existence of A</a:t>
          </a:r>
          <a:endParaRPr lang="en-US" sz="1800" kern="1200" dirty="0"/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B may assume that A must exist when B is calling A</a:t>
          </a:r>
          <a:endParaRPr lang="en-US" sz="1400" kern="1200" dirty="0"/>
        </a:p>
      </dsp:txBody>
      <dsp:txXfrm>
        <a:off x="1612768" y="3805644"/>
        <a:ext cx="2382887" cy="1299755"/>
      </dsp:txXfrm>
    </dsp:sp>
    <dsp:sp modelId="{5C919D79-4EE6-48D8-A3B5-96B95D5F1B4A}">
      <dsp:nvSpPr>
        <dsp:cNvPr id="0" name=""/>
        <dsp:cNvSpPr/>
      </dsp:nvSpPr>
      <dsp:spPr>
        <a:xfrm>
          <a:off x="4233944" y="3805644"/>
          <a:ext cx="2382887" cy="129975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Resource behavior of A</a:t>
          </a:r>
          <a:endParaRPr lang="en-US" sz="1800" kern="1200" dirty="0"/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B may assume that both use same memory</a:t>
          </a:r>
          <a:endParaRPr lang="en-US" sz="1400" kern="1200" dirty="0"/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B needs to reserve a resource owned by A</a:t>
          </a:r>
          <a:endParaRPr lang="en-US" sz="1400" kern="1200" dirty="0"/>
        </a:p>
      </dsp:txBody>
      <dsp:txXfrm>
        <a:off x="4233944" y="3805644"/>
        <a:ext cx="2382887" cy="129975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#1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5/26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905697-E451-44FE-AC80-EC90E9AC8897}" type="slidenum">
              <a:rPr lang="en-US" smtClean="0"/>
              <a:pPr/>
              <a:t>8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3.jpeg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58039D-24F2-4D51-B76B-A8077CD65FB8}" type="datetime1">
              <a:rPr lang="en-US" smtClean="0"/>
              <a:pPr>
                <a:defRPr/>
              </a:pPr>
              <a:t>5/2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B7B8B4-5152-46B6-BE8C-41F055EE686F}" type="datetime1">
              <a:rPr lang="en-US" smtClean="0"/>
              <a:pPr>
                <a:defRPr/>
              </a:pPr>
              <a:t>5/2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D3B123-3333-4AA8-B376-39BB758B3121}" type="datetime1">
              <a:rPr lang="en-US" smtClean="0"/>
              <a:pPr>
                <a:defRPr/>
              </a:pPr>
              <a:t>5/2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2787" name="think-cell Slide" r:id="rId7" imgW="6350000" imgH="6350000" progId="">
              <p:embed/>
            </p:oleObj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0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CAD9AB-5CA1-4FAC-9D1E-A3369B289022}" type="datetime1">
              <a:rPr lang="en-US" smtClean="0"/>
              <a:pPr>
                <a:defRPr/>
              </a:pPr>
              <a:t>5/2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615C85-A48B-47CE-BE65-E87B3CC809B3}" type="datetime1">
              <a:rPr lang="en-US" smtClean="0"/>
              <a:pPr>
                <a:defRPr/>
              </a:pPr>
              <a:t>5/2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B2C959-E8FD-4F98-B61A-9C7FE42E3770}" type="datetime1">
              <a:rPr lang="en-US" smtClean="0"/>
              <a:pPr>
                <a:defRPr/>
              </a:pPr>
              <a:t>5/26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8FAFCF-668A-4C5E-8428-0BDF980ADCDF}" type="datetime1">
              <a:rPr lang="en-US" smtClean="0"/>
              <a:pPr>
                <a:defRPr/>
              </a:pPr>
              <a:t>5/26/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7FF673-6D6D-4880-B41D-DD69D715BB78}" type="datetime1">
              <a:rPr lang="en-US" smtClean="0"/>
              <a:pPr>
                <a:defRPr/>
              </a:pPr>
              <a:t>5/26/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632811-ECAA-4530-A986-AA7D765ABF02}" type="datetime1">
              <a:rPr lang="en-US" smtClean="0"/>
              <a:pPr>
                <a:defRPr/>
              </a:pPr>
              <a:t>5/26/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3771F4-998A-45BF-9003-D95EE5FDBC0A}" type="datetime1">
              <a:rPr lang="en-US" smtClean="0"/>
              <a:pPr>
                <a:defRPr/>
              </a:pPr>
              <a:t>5/26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F65113-A21F-4B4C-99B1-01A8CFCF9546}" type="datetime1">
              <a:rPr lang="en-US" smtClean="0"/>
              <a:pPr>
                <a:defRPr/>
              </a:pPr>
              <a:t>5/26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2180BADF-7D63-4AB0-B1F9-9AD99337E28A}" type="datetime1">
              <a:rPr lang="en-US" smtClean="0"/>
              <a:pPr>
                <a:defRPr/>
              </a:pPr>
              <a:t>5/2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4" Type="http://schemas.openxmlformats.org/officeDocument/2006/relationships/diagramQuickStyle" Target="../diagrams/quickStyle2.xml"/><Relationship Id="rId5" Type="http://schemas.openxmlformats.org/officeDocument/2006/relationships/diagramColors" Target="../diagrams/colors2.xml"/><Relationship Id="rId6" Type="http://schemas.microsoft.com/office/2007/relationships/diagramDrawing" Target="../diagrams/drawing2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 fontScale="90000"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 (RL 5.1)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Modifiability and Its Tactics</a:t>
            </a:r>
            <a:endParaRPr lang="en-GB" sz="3600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checklist- Modifiabil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143000"/>
            <a:ext cx="8839200" cy="5029200"/>
          </a:xfrm>
        </p:spPr>
        <p:txBody>
          <a:bodyPr/>
          <a:lstStyle/>
          <a:p>
            <a:r>
              <a:rPr lang="en-US" sz="2800" dirty="0" smtClean="0"/>
              <a:t>Data </a:t>
            </a:r>
            <a:r>
              <a:rPr lang="en-US" sz="2800" dirty="0" smtClean="0"/>
              <a:t>Model</a:t>
            </a:r>
          </a:p>
          <a:p>
            <a:pPr lvl="1"/>
            <a:r>
              <a:rPr lang="en-US" sz="2000" dirty="0" smtClean="0"/>
              <a:t>For the anticipated changes, decide which data elements will be impacted, and the nature of impact (creation, modification, deletion, persistence, translation</a:t>
            </a:r>
            <a:r>
              <a:rPr lang="en-US" sz="2000" dirty="0" smtClean="0"/>
              <a:t>)</a:t>
            </a:r>
          </a:p>
          <a:p>
            <a:pPr lvl="1"/>
            <a:r>
              <a:rPr lang="en-US" sz="2000" dirty="0" smtClean="0"/>
              <a:t>Group data elements that are likely to change together</a:t>
            </a:r>
          </a:p>
          <a:p>
            <a:pPr lvl="1"/>
            <a:r>
              <a:rPr lang="en-US" sz="2000" dirty="0" smtClean="0"/>
              <a:t>Design to ensure that changes have minimal impact to the rest of the system</a:t>
            </a:r>
          </a:p>
          <a:p>
            <a:r>
              <a:rPr lang="en-US" sz="2800" dirty="0" smtClean="0"/>
              <a:t>Resource </a:t>
            </a:r>
            <a:r>
              <a:rPr lang="en-US" sz="2800" dirty="0" smtClean="0"/>
              <a:t>Management</a:t>
            </a:r>
          </a:p>
          <a:p>
            <a:pPr lvl="1"/>
            <a:r>
              <a:rPr lang="en-US" sz="2000" dirty="0" smtClean="0"/>
              <a:t>Determine how addition, deletion or modification of a feature or a quality attribute cause</a:t>
            </a:r>
          </a:p>
          <a:p>
            <a:pPr lvl="2"/>
            <a:r>
              <a:rPr lang="en-US" sz="1800" dirty="0" smtClean="0"/>
              <a:t>New resources to be used, or affect resource usage</a:t>
            </a:r>
          </a:p>
          <a:p>
            <a:pPr lvl="2"/>
            <a:r>
              <a:rPr lang="en-US" sz="1800" dirty="0" smtClean="0"/>
              <a:t>Changing of resource usage limits</a:t>
            </a:r>
          </a:p>
          <a:p>
            <a:pPr lvl="1"/>
            <a:r>
              <a:rPr lang="en-US" sz="2000" dirty="0" smtClean="0"/>
              <a:t>Ensure that the resources after modification are sufficient to meet the system requirement</a:t>
            </a:r>
          </a:p>
          <a:p>
            <a:pPr lvl="1"/>
            <a:r>
              <a:rPr lang="en-US" sz="2000" dirty="0" smtClean="0"/>
              <a:t>Write Resource manager module that encapsulates resource usage polici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1CAD9AB-5CA1-4FAC-9D1E-A3369B289022}" type="datetime1">
              <a:rPr lang="en-US" smtClean="0"/>
              <a:pPr>
                <a:defRPr/>
              </a:pPr>
              <a:t>5/2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20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Checklist- Modifiabil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Binding</a:t>
            </a:r>
          </a:p>
          <a:p>
            <a:pPr lvl="1"/>
            <a:r>
              <a:rPr lang="en-US" dirty="0" smtClean="0"/>
              <a:t>Determine the latest time at which the anticipated change is required</a:t>
            </a:r>
          </a:p>
          <a:p>
            <a:pPr lvl="1"/>
            <a:r>
              <a:rPr lang="en-US" dirty="0" smtClean="0"/>
              <a:t>Choose a defer binding if possible</a:t>
            </a:r>
          </a:p>
          <a:p>
            <a:pPr lvl="1"/>
            <a:r>
              <a:rPr lang="en-US" dirty="0" smtClean="0"/>
              <a:t>Try to avoid too many binding choices</a:t>
            </a:r>
          </a:p>
          <a:p>
            <a:r>
              <a:rPr lang="en-US" dirty="0" smtClean="0"/>
              <a:t>Choice of Technology</a:t>
            </a:r>
          </a:p>
          <a:p>
            <a:pPr lvl="1"/>
            <a:r>
              <a:rPr lang="en-US" dirty="0" smtClean="0"/>
              <a:t>Evaluate the technology that can handle modifications with least impact (e.g. enterprise service bus)</a:t>
            </a:r>
          </a:p>
          <a:p>
            <a:pPr lvl="1"/>
            <a:r>
              <a:rPr lang="en-US" dirty="0" smtClean="0"/>
              <a:t>Watch for vendor lock-in</a:t>
            </a:r>
          </a:p>
          <a:p>
            <a:pPr lvl="1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1CAD9AB-5CA1-4FAC-9D1E-A3369B289022}" type="datetime1">
              <a:rPr lang="en-US" smtClean="0"/>
              <a:pPr>
                <a:defRPr/>
              </a:pPr>
              <a:t>5/2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Modifiability</a:t>
            </a:r>
            <a:endParaRPr lang="en-IN" altLang="en-US" smtClean="0"/>
          </a:p>
        </p:txBody>
      </p:sp>
      <p:sp>
        <p:nvSpPr>
          <p:cNvPr id="2867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 b="1" dirty="0" smtClean="0"/>
              <a:t>Ability to Modify the system based on the change in requirement so that</a:t>
            </a:r>
          </a:p>
          <a:p>
            <a:pPr lvl="1" eaLnBrk="1" hangingPunct="1"/>
            <a:r>
              <a:rPr lang="en-US" altLang="en-US" b="1" dirty="0" smtClean="0"/>
              <a:t>the time and cost to implement is optimal</a:t>
            </a:r>
          </a:p>
          <a:p>
            <a:pPr lvl="1" eaLnBrk="1" hangingPunct="1"/>
            <a:r>
              <a:rPr lang="en-US" altLang="en-US" b="1" dirty="0" smtClean="0"/>
              <a:t>Impact of modification such as testing, deployment, and change management is minimal</a:t>
            </a:r>
          </a:p>
          <a:p>
            <a:pPr eaLnBrk="1" hangingPunct="1"/>
            <a:r>
              <a:rPr lang="en-US" altLang="en-US" b="1" dirty="0" smtClean="0"/>
              <a:t>When do you want to introduce modifiability?</a:t>
            </a:r>
          </a:p>
          <a:p>
            <a:pPr lvl="1" eaLnBrk="1" hangingPunct="1"/>
            <a:r>
              <a:rPr lang="en-US" altLang="en-US" b="1" dirty="0" smtClean="0"/>
              <a:t>If (cost of modification w/o modifiability mechanism in place) &gt;  (cost of modification with modifiability in place)+ Cost of installing the mechanism 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4F0A3EC-91B4-4833-B674-2105F6F007A0}" type="datetime1">
              <a:rPr lang="en-US" smtClean="0"/>
              <a:pPr>
                <a:defRPr/>
              </a:pPr>
              <a:t>5/26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70731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86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286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286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2867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2867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675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A881407-CF17-4B8F-A652-9C11BF5C6218}" type="datetime1">
              <a:rPr lang="en-US" smtClean="0"/>
              <a:pPr>
                <a:defRPr/>
              </a:pPr>
              <a:t>5/26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ifiability Scenarios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0" y="6492875"/>
            <a:ext cx="2895600" cy="365125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152400" y="2133600"/>
            <a:ext cx="990600" cy="1785938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u="sng" dirty="0" smtClean="0">
                <a:solidFill>
                  <a:schemeClr val="tx1"/>
                </a:solidFill>
              </a:rPr>
              <a:t>WHO</a:t>
            </a:r>
          </a:p>
          <a:p>
            <a:pPr algn="ctr"/>
            <a:endParaRPr lang="en-US" sz="1600" u="sng" dirty="0" smtClean="0">
              <a:solidFill>
                <a:schemeClr val="tx1"/>
              </a:solidFill>
            </a:endParaRPr>
          </a:p>
          <a:p>
            <a:pPr marL="91440" indent="-91440">
              <a:buFont typeface="Arial" pitchFamily="34" charset="0"/>
              <a:buChar char="•"/>
              <a:defRPr/>
            </a:pPr>
            <a:r>
              <a:rPr lang="en-US" sz="1600" dirty="0" err="1"/>
              <a:t>Enduser</a:t>
            </a:r>
            <a:endParaRPr lang="en-US" sz="1600" dirty="0"/>
          </a:p>
          <a:p>
            <a:pPr marL="91440" indent="-91440">
              <a:buFont typeface="Arial" pitchFamily="34" charset="0"/>
              <a:buChar char="•"/>
              <a:defRPr/>
            </a:pPr>
            <a:r>
              <a:rPr lang="en-US" sz="1600" dirty="0" smtClean="0"/>
              <a:t>Developer</a:t>
            </a:r>
          </a:p>
          <a:p>
            <a:pPr marL="91440" indent="-91440">
              <a:buFont typeface="Arial" pitchFamily="34" charset="0"/>
              <a:buChar char="•"/>
              <a:defRPr/>
            </a:pPr>
            <a:r>
              <a:rPr lang="en-US" sz="1600" dirty="0" err="1" smtClean="0">
                <a:solidFill>
                  <a:schemeClr val="tx1"/>
                </a:solidFill>
              </a:rPr>
              <a:t>SysAdm</a:t>
            </a:r>
            <a:endParaRPr lang="en-IN" sz="1600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295400" y="2133600"/>
            <a:ext cx="1828800" cy="281940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   </a:t>
            </a:r>
            <a:r>
              <a:rPr lang="en-US" sz="1600" u="sng" dirty="0" smtClean="0">
                <a:solidFill>
                  <a:schemeClr val="tx1"/>
                </a:solidFill>
              </a:rPr>
              <a:t>STIMULUS</a:t>
            </a:r>
          </a:p>
          <a:p>
            <a:endParaRPr lang="en-US" sz="1600" dirty="0" smtClean="0">
              <a:solidFill>
                <a:schemeClr val="tx1"/>
              </a:solidFill>
            </a:endParaRPr>
          </a:p>
          <a:p>
            <a:r>
              <a:rPr lang="en-US" sz="1600" dirty="0" smtClean="0">
                <a:solidFill>
                  <a:schemeClr val="tx1"/>
                </a:solidFill>
              </a:rPr>
              <a:t>They want to modify</a:t>
            </a:r>
          </a:p>
          <a:p>
            <a:pPr lvl="1" indent="-285750">
              <a:buFont typeface="Wingdings" panose="05000000000000000000" pitchFamily="2" charset="2"/>
              <a:buChar char="Ø"/>
            </a:pPr>
            <a:r>
              <a:rPr lang="en-US" sz="1600" dirty="0" smtClean="0">
                <a:solidFill>
                  <a:schemeClr val="tx1"/>
                </a:solidFill>
              </a:rPr>
              <a:t>Functionality</a:t>
            </a:r>
          </a:p>
          <a:p>
            <a:pPr lvl="2" indent="-285750">
              <a:buFont typeface="Wingdings" panose="05000000000000000000" pitchFamily="2" charset="2"/>
              <a:buChar char="Ø"/>
            </a:pPr>
            <a:r>
              <a:rPr lang="en-US" sz="1600" dirty="0" smtClean="0">
                <a:solidFill>
                  <a:schemeClr val="tx1"/>
                </a:solidFill>
              </a:rPr>
              <a:t>Add, modify, delete </a:t>
            </a:r>
            <a:endParaRPr lang="en-US" sz="1600" dirty="0">
              <a:solidFill>
                <a:schemeClr val="tx1"/>
              </a:solidFill>
            </a:endParaRPr>
          </a:p>
          <a:p>
            <a:pPr lvl="1" indent="-285750">
              <a:buFont typeface="Wingdings" panose="05000000000000000000" pitchFamily="2" charset="2"/>
              <a:buChar char="Ø"/>
            </a:pPr>
            <a:r>
              <a:rPr lang="en-US" sz="1600" dirty="0" smtClean="0">
                <a:solidFill>
                  <a:schemeClr val="tx1"/>
                </a:solidFill>
              </a:rPr>
              <a:t>Quality</a:t>
            </a:r>
          </a:p>
          <a:p>
            <a:pPr lvl="2" indent="-285750">
              <a:buFont typeface="Wingdings" panose="05000000000000000000" pitchFamily="2" charset="2"/>
              <a:buChar char="Ø"/>
            </a:pPr>
            <a:r>
              <a:rPr lang="en-US" sz="1600" dirty="0" smtClean="0">
                <a:solidFill>
                  <a:schemeClr val="tx1"/>
                </a:solidFill>
              </a:rPr>
              <a:t>Capacity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52800" y="2133600"/>
            <a:ext cx="1371600" cy="3071813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rIns="0" anchor="b" anchorCtr="1"/>
          <a:lstStyle/>
          <a:p>
            <a:pPr>
              <a:defRPr/>
            </a:pPr>
            <a:r>
              <a:rPr lang="en-US" sz="1600" u="sng" dirty="0" smtClean="0"/>
              <a:t>IMPACTED PART</a:t>
            </a:r>
          </a:p>
          <a:p>
            <a:pPr>
              <a:defRPr/>
            </a:pPr>
            <a:endParaRPr lang="en-US" sz="1600" u="sng" dirty="0"/>
          </a:p>
          <a:p>
            <a:pPr>
              <a:defRPr/>
            </a:pPr>
            <a:endParaRPr lang="en-US" sz="1600" u="sng" dirty="0" smtClean="0"/>
          </a:p>
          <a:p>
            <a:pPr>
              <a:defRPr/>
            </a:pPr>
            <a:endParaRPr lang="en-US" sz="1600" u="sng" dirty="0"/>
          </a:p>
          <a:p>
            <a:pPr>
              <a:defRPr/>
            </a:pPr>
            <a:endParaRPr lang="en-US" sz="1600" u="sng" dirty="0" smtClean="0"/>
          </a:p>
          <a:p>
            <a:pPr>
              <a:defRPr/>
            </a:pPr>
            <a:endParaRPr lang="en-US" sz="1600" u="sng" dirty="0" smtClean="0"/>
          </a:p>
          <a:p>
            <a:pPr>
              <a:defRPr/>
            </a:pPr>
            <a:endParaRPr lang="en-US" sz="1600" u="sng" dirty="0" smtClean="0"/>
          </a:p>
          <a:p>
            <a:pPr>
              <a:defRPr/>
            </a:pPr>
            <a:endParaRPr lang="en-US" sz="1600" u="sng" dirty="0" smtClean="0"/>
          </a:p>
          <a:p>
            <a:pPr>
              <a:buFont typeface="Arial" pitchFamily="34" charset="0"/>
              <a:buChar char="•"/>
              <a:defRPr/>
            </a:pPr>
            <a:r>
              <a:rPr lang="en-US" sz="1600" dirty="0" smtClean="0"/>
              <a:t>Runtime </a:t>
            </a:r>
            <a:endParaRPr lang="en-US" sz="1600" dirty="0"/>
          </a:p>
          <a:p>
            <a:pPr>
              <a:buFont typeface="Arial" pitchFamily="34" charset="0"/>
              <a:buChar char="•"/>
              <a:defRPr/>
            </a:pPr>
            <a:r>
              <a:rPr lang="en-US" sz="1600" dirty="0" smtClean="0"/>
              <a:t>Compile time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sz="1600" dirty="0" smtClean="0"/>
              <a:t>Design time</a:t>
            </a:r>
            <a:endParaRPr lang="en-US" sz="1600" dirty="0"/>
          </a:p>
          <a:p>
            <a:pPr>
              <a:buFont typeface="Arial" pitchFamily="34" charset="0"/>
              <a:buChar char="•"/>
              <a:defRPr/>
            </a:pPr>
            <a:r>
              <a:rPr lang="en-US" sz="1600" dirty="0" smtClean="0"/>
              <a:t>Build time</a:t>
            </a:r>
            <a:endParaRPr lang="en-IN" sz="1600" dirty="0"/>
          </a:p>
        </p:txBody>
      </p:sp>
      <p:sp>
        <p:nvSpPr>
          <p:cNvPr id="11" name="Rectangle 10"/>
          <p:cNvSpPr/>
          <p:nvPr/>
        </p:nvSpPr>
        <p:spPr>
          <a:xfrm>
            <a:off x="4876799" y="2133600"/>
            <a:ext cx="2169225" cy="3071813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u="sng" dirty="0" smtClean="0">
                <a:solidFill>
                  <a:schemeClr val="tx1"/>
                </a:solidFill>
              </a:rPr>
              <a:t>MITIGATING ACTION</a:t>
            </a:r>
          </a:p>
          <a:p>
            <a:pPr algn="ctr"/>
            <a:endParaRPr lang="en-US" sz="1600" u="sng" dirty="0">
              <a:solidFill>
                <a:schemeClr val="tx1"/>
              </a:solidFill>
            </a:endParaRPr>
          </a:p>
          <a:p>
            <a:pPr algn="ctr"/>
            <a:endParaRPr lang="en-US" sz="1600" u="sng" smtClean="0">
              <a:solidFill>
                <a:schemeClr val="tx1"/>
              </a:solidFill>
            </a:endParaRPr>
          </a:p>
          <a:p>
            <a:pPr algn="ctr"/>
            <a:endParaRPr lang="en-US" sz="1600" u="sng" dirty="0" smtClean="0">
              <a:solidFill>
                <a:schemeClr val="tx1"/>
              </a:solidFill>
            </a:endParaRPr>
          </a:p>
          <a:p>
            <a:r>
              <a:rPr lang="en-US" sz="1600" dirty="0" smtClean="0">
                <a:solidFill>
                  <a:schemeClr val="tx1"/>
                </a:solidFill>
              </a:rPr>
              <a:t>When fault occurs it should do one or more of</a:t>
            </a:r>
          </a:p>
          <a:p>
            <a:pPr marL="365760" lvl="2" indent="-285750"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chemeClr val="tx1"/>
                </a:solidFill>
              </a:rPr>
              <a:t>Locate (Impact analysis)</a:t>
            </a:r>
          </a:p>
          <a:p>
            <a:pPr marL="365760" lvl="2" indent="-285750"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chemeClr val="tx1"/>
                </a:solidFill>
              </a:rPr>
              <a:t>Modify </a:t>
            </a:r>
          </a:p>
          <a:p>
            <a:pPr marL="365760" lvl="2" indent="-285750"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chemeClr val="tx1"/>
                </a:solidFill>
              </a:rPr>
              <a:t>Test</a:t>
            </a:r>
          </a:p>
          <a:p>
            <a:pPr marL="365760" lvl="2" indent="-285750"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chemeClr val="tx1"/>
                </a:solidFill>
              </a:rPr>
              <a:t>Deploy again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162800" y="2150269"/>
            <a:ext cx="1828801" cy="3234116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u="sng" dirty="0" smtClean="0">
                <a:solidFill>
                  <a:schemeClr val="tx1"/>
                </a:solidFill>
              </a:rPr>
              <a:t>MEASURABLE RESPONSE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Volume of the impact of the primary system (number, size)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Cost of modification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Time and effort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Extent of impact to other systems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New defects introduced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429000" y="2667000"/>
            <a:ext cx="1219200" cy="114299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UI, platform or System</a:t>
            </a:r>
            <a:endParaRPr lang="en-IN" sz="1600" dirty="0">
              <a:solidFill>
                <a:schemeClr val="tx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63286" y="5410200"/>
            <a:ext cx="11176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Developer</a:t>
            </a:r>
            <a:endParaRPr lang="en-US" sz="1600" dirty="0"/>
          </a:p>
        </p:txBody>
      </p:sp>
      <p:sp>
        <p:nvSpPr>
          <p:cNvPr id="15" name="TextBox 14"/>
          <p:cNvSpPr txBox="1"/>
          <p:nvPr/>
        </p:nvSpPr>
        <p:spPr>
          <a:xfrm>
            <a:off x="1295400" y="5410200"/>
            <a:ext cx="18288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Tries to change UI</a:t>
            </a:r>
            <a:endParaRPr lang="en-US" sz="1600" dirty="0"/>
          </a:p>
        </p:txBody>
      </p:sp>
      <p:sp>
        <p:nvSpPr>
          <p:cNvPr id="16" name="TextBox 15"/>
          <p:cNvSpPr txBox="1"/>
          <p:nvPr/>
        </p:nvSpPr>
        <p:spPr>
          <a:xfrm>
            <a:off x="4952999" y="5410200"/>
            <a:ext cx="18288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Changes made and unit test done</a:t>
            </a:r>
            <a:endParaRPr lang="en-US" sz="1600" dirty="0"/>
          </a:p>
        </p:txBody>
      </p:sp>
      <p:sp>
        <p:nvSpPr>
          <p:cNvPr id="17" name="TextBox 16"/>
          <p:cNvSpPr txBox="1"/>
          <p:nvPr/>
        </p:nvSpPr>
        <p:spPr>
          <a:xfrm>
            <a:off x="7086599" y="5410200"/>
            <a:ext cx="18288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Completed in 4 hours</a:t>
            </a:r>
            <a:endParaRPr lang="en-US" sz="1600" dirty="0"/>
          </a:p>
        </p:txBody>
      </p:sp>
      <p:sp>
        <p:nvSpPr>
          <p:cNvPr id="18" name="TextBox 17"/>
          <p:cNvSpPr txBox="1"/>
          <p:nvPr/>
        </p:nvSpPr>
        <p:spPr>
          <a:xfrm>
            <a:off x="3352800" y="5384385"/>
            <a:ext cx="14953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Artifact – Code</a:t>
            </a:r>
          </a:p>
          <a:p>
            <a:r>
              <a:rPr lang="en-US" sz="1600" dirty="0" smtClean="0"/>
              <a:t>Environment: Design time</a:t>
            </a:r>
            <a:endParaRPr lang="en-US" sz="1600" dirty="0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5332632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/>
      <p:bldP spid="15" grpId="0"/>
      <p:bldP spid="16" grpId="0"/>
      <p:bldP spid="17" grpId="0"/>
      <p:bldP spid="1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ifiability Tactics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8E6712E-73CE-4421-B007-31FB455D4FF3}" type="datetime1">
              <a:rPr lang="en-US" smtClean="0"/>
              <a:pPr>
                <a:defRPr/>
              </a:pPr>
              <a:t>5/26/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graphicFrame>
        <p:nvGraphicFramePr>
          <p:cNvPr id="15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902789427"/>
              </p:ext>
            </p:extLst>
          </p:nvPr>
        </p:nvGraphicFramePr>
        <p:xfrm>
          <a:off x="304800" y="1371600"/>
          <a:ext cx="8534400" cy="5029200"/>
        </p:xfrm>
        <a:graphic>
          <a:graphicData uri="http://schemas.openxmlformats.org/drawingml/2006/diagram">
            <a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41846282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1AD90FEA-3135-49C2-A3C0-CFEDDC6405B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A3BC68A0-CABF-4126-884C-C90818E1E26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5E5C4910-D5C2-4117-9825-0F4E2308A1D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96956835-3386-449C-A89B-65F7C680246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F0ED6141-24DB-4164-A2D4-B51E750525C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C137CAE9-66E1-459B-A733-9B53B02E07A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A5F2589C-C16C-45F2-9A3D-F2A6CB2476D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A83ED5F7-10A0-45C9-B814-5804FA76917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1064D61A-5C37-497D-A6F5-6312AB6E3F5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A2B3E9C0-0CE1-4B88-9E71-F7CE1A7F99D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A77E27D0-EFD7-495B-9E1A-5A5371B8AB8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50C84909-550F-4BDC-8966-B86E5E1786A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984A4F3B-0A00-4E5A-9092-1922B8A7FAB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CF00A05E-81E0-4C4F-9FC9-0B1D7BC7DE0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BA6AC4DB-0F64-47C4-8289-FB0923B8558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CC07306D-4BD7-4477-BB61-A954489058D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CBCDE87F-FA6C-44B8-A9C2-1E747BE7F73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FE10A4AF-D8A8-4F2D-9661-56E5DBB5B2C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5D0F02D1-4A23-4B53-AF4F-3529BE69829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1D4D3FE4-1739-4B3C-ACD2-597D18FBC50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7BABB840-5689-4566-85C9-55C4A127C4C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3A94D9E8-C2A3-4765-9477-D710CC64695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50D60845-A14B-4DD0-8DB4-8B07FEB31A2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B3F6E978-95D0-49EC-8802-EBBBC8209E5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7001C0C6-E80B-4DDC-8CC5-73BD56ED162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FE1ECB8B-3B17-4C2A-B0D6-F3E2F1F738C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3F3A1C94-9E4D-49E6-8EF8-C7EE7891622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AA0029C3-AE83-4316-8033-59A2BC4BA55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831720FA-D5E3-4C7F-A57E-CFE8CC23F33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AEDC7120-FE6F-49D8-95F2-AB1B2B6AC9A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6E033C69-6BA8-4812-AE4E-0022A986E94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28E82B1A-B1F2-4CC5-9B64-B60015CBF62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428A54D9-43F6-47B6-B3A2-FDCE09CB5A9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11628582-088E-42FA-B6EC-953F652565B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93507A0E-B606-4F7A-9C01-283769128FF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F6DF7D20-97CE-45B5-8272-1D8DFBF4322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B48C34C0-3268-4BDA-9392-41361EEA60C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7D219183-9F73-4F55-B29C-C002A874E74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FCA045DB-109B-4BD9-8B5B-936265CC06E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1" fill="hold">
                      <p:stCondLst>
                        <p:cond delay="indefinite"/>
                      </p:stCondLst>
                      <p:childTnLst>
                        <p:par>
                          <p:cTn id="122" fill="hold">
                            <p:stCondLst>
                              <p:cond delay="0"/>
                            </p:stCondLst>
                            <p:childTnLst>
                              <p:par>
                                <p:cTn id="1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5F4734C5-B5CF-4FE9-B238-4E06735577C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FDAB9EF4-76C4-48A1-91FB-3230EB6A752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5" grpId="0">
        <p:bldSub>
          <a:bldDgm bld="lvlOne"/>
        </p:bldSub>
      </p:bldGraphic>
    </p:bld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 smtClean="0"/>
              <a:t>Dependency between two modules (B</a:t>
            </a:r>
            <a:r>
              <a:rPr lang="en-US" sz="4000" dirty="0" smtClean="0">
                <a:sym typeface="Wingdings" panose="05000000000000000000" pitchFamily="2" charset="2"/>
              </a:rPr>
              <a:t> A)</a:t>
            </a:r>
            <a:endParaRPr lang="en-US" sz="4000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152968055"/>
              </p:ext>
            </p:extLst>
          </p:nvPr>
        </p:nvGraphicFramePr>
        <p:xfrm>
          <a:off x="457200" y="1295400"/>
          <a:ext cx="8229600" cy="5105400"/>
        </p:xfrm>
        <a:graphic>
          <a:graphicData uri="http://schemas.openxmlformats.org/drawingml/2006/diagram">
            <a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3F8B335-28EF-49F1-842A-FD873E75E964}" type="datetime1">
              <a:rPr lang="en-US" smtClean="0"/>
              <a:pPr>
                <a:defRPr/>
              </a:pPr>
              <a:t>5/26/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3171791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492C60C7-940A-48E4-92CA-5C333A95182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99AB3E69-CF6C-4396-BD14-6DA843B0967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99EBB280-35FF-4985-AD72-142BC51A174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59C08CA-105A-4CCF-8DFA-D0C117662B5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D3A09A55-1C4A-4698-B95B-22A3FF4F830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D283551-182D-4F32-BB67-81DDEEF65A1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79B99989-1AB0-4F83-A1C8-B47D978DA6B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C919D79-4EE6-48D8-A3B5-96B95D5F1B4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Sub>
          <a:bldDgm bld="one"/>
        </p:bldSub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calize Modific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7086600" cy="4648199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sz="1800" dirty="0" smtClean="0"/>
              <a:t>Factoring common service</a:t>
            </a:r>
          </a:p>
          <a:p>
            <a:pPr marL="914400" lvl="1" indent="-514350"/>
            <a:r>
              <a:rPr lang="en-US" sz="1600" dirty="0" smtClean="0"/>
              <a:t>Common services through a specialized module (only implementing module should be impacted)</a:t>
            </a:r>
          </a:p>
          <a:p>
            <a:pPr marL="1314450" lvl="2" indent="-514350"/>
            <a:r>
              <a:rPr lang="en-US" sz="1400" dirty="0" smtClean="0"/>
              <a:t>Heavily used in application framework and middleware</a:t>
            </a:r>
          </a:p>
          <a:p>
            <a:pPr marL="914400" lvl="1" indent="-514350"/>
            <a:r>
              <a:rPr lang="en-US" sz="1600" dirty="0" smtClean="0"/>
              <a:t>Reduce Coupling and increase cohesion</a:t>
            </a:r>
          </a:p>
          <a:p>
            <a:pPr marL="514350" indent="-514350">
              <a:buAutoNum type="arabicPeriod" startAt="2"/>
            </a:pPr>
            <a:r>
              <a:rPr lang="en-US" sz="1800" dirty="0" smtClean="0"/>
              <a:t>Anticipate Expected Changes</a:t>
            </a:r>
          </a:p>
          <a:p>
            <a:pPr marL="914400" lvl="1" indent="-514350"/>
            <a:r>
              <a:rPr lang="en-US" sz="1600" dirty="0" smtClean="0"/>
              <a:t>Quite difficult to anticipate, hence should be coupled with previous one</a:t>
            </a:r>
          </a:p>
          <a:p>
            <a:pPr marL="914400" lvl="1" indent="-514350"/>
            <a:r>
              <a:rPr lang="en-US" sz="1600" dirty="0" smtClean="0"/>
              <a:t>Allow extension points to accommodate changes</a:t>
            </a:r>
          </a:p>
          <a:p>
            <a:pPr marL="514350" indent="-514350">
              <a:buAutoNum type="arabicPeriod" startAt="2"/>
            </a:pPr>
            <a:r>
              <a:rPr lang="en-US" sz="1800" dirty="0" smtClean="0"/>
              <a:t>Generalize the Module</a:t>
            </a:r>
          </a:p>
          <a:p>
            <a:pPr marL="914400" lvl="1" indent="-514350"/>
            <a:r>
              <a:rPr lang="en-US" sz="1600" dirty="0" smtClean="0"/>
              <a:t>Allowing it to perform broader range of functions</a:t>
            </a:r>
          </a:p>
          <a:p>
            <a:pPr marL="914400" lvl="1" indent="-514350"/>
            <a:r>
              <a:rPr lang="en-US" sz="1600" dirty="0" smtClean="0"/>
              <a:t>Externalize configuration parameters (could be described in a language like XML)</a:t>
            </a:r>
          </a:p>
          <a:p>
            <a:pPr marL="1314450" lvl="2" indent="-514350"/>
            <a:r>
              <a:rPr lang="en-US" sz="1400" dirty="0" smtClean="0"/>
              <a:t>The module reconfigure itself based on the configurable parameters</a:t>
            </a:r>
            <a:endParaRPr lang="en-US" sz="1200" dirty="0" smtClean="0"/>
          </a:p>
          <a:p>
            <a:pPr marL="914400" lvl="1" indent="-514350"/>
            <a:r>
              <a:rPr lang="en-US" sz="1600" dirty="0" smtClean="0"/>
              <a:t>Externalize business rules</a:t>
            </a:r>
          </a:p>
          <a:p>
            <a:pPr marL="514350" indent="-514350">
              <a:buAutoNum type="arabicPeriod" startAt="2"/>
            </a:pPr>
            <a:r>
              <a:rPr lang="en-US" sz="1800" dirty="0" smtClean="0"/>
              <a:t>Limit Possible options</a:t>
            </a:r>
          </a:p>
          <a:p>
            <a:pPr marL="914400" lvl="1" indent="-514350"/>
            <a:r>
              <a:rPr lang="en-US" sz="1400" dirty="0" smtClean="0"/>
              <a:t>Do not keep too many options for modules that are part of the framework</a:t>
            </a:r>
          </a:p>
          <a:p>
            <a:pPr marL="514350" indent="-514350"/>
            <a:endParaRPr lang="en-US" sz="1800" dirty="0" smtClean="0"/>
          </a:p>
        </p:txBody>
      </p:sp>
      <p:sp>
        <p:nvSpPr>
          <p:cNvPr id="4" name="Rounded Rectangle 3"/>
          <p:cNvSpPr/>
          <p:nvPr/>
        </p:nvSpPr>
        <p:spPr>
          <a:xfrm>
            <a:off x="7696200" y="2286000"/>
            <a:ext cx="1143000" cy="76200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Module B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7696199" y="4191000"/>
            <a:ext cx="1143000" cy="76200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Module A</a:t>
            </a:r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7" name="Elbow Connector 6"/>
          <p:cNvCxnSpPr>
            <a:stCxn id="4" idx="2"/>
            <a:endCxn id="5" idx="0"/>
          </p:cNvCxnSpPr>
          <p:nvPr/>
        </p:nvCxnSpPr>
        <p:spPr>
          <a:xfrm rot="5400000">
            <a:off x="7696200" y="3619500"/>
            <a:ext cx="1143000" cy="1"/>
          </a:xfrm>
          <a:prstGeom prst="bentConnector3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8229601" y="3200400"/>
            <a:ext cx="9144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Calls/</a:t>
            </a:r>
          </a:p>
          <a:p>
            <a:r>
              <a:rPr lang="en-US" sz="1400" dirty="0"/>
              <a:t>D</a:t>
            </a:r>
            <a:r>
              <a:rPr lang="en-US" sz="1400" dirty="0" smtClean="0"/>
              <a:t>epends on</a:t>
            </a:r>
            <a:endParaRPr lang="en-US" sz="1400" dirty="0"/>
          </a:p>
        </p:txBody>
      </p:sp>
      <p:sp>
        <p:nvSpPr>
          <p:cNvPr id="12" name="5-Point Star 11"/>
          <p:cNvSpPr/>
          <p:nvPr/>
        </p:nvSpPr>
        <p:spPr>
          <a:xfrm>
            <a:off x="8267700" y="4724400"/>
            <a:ext cx="647699" cy="533400"/>
          </a:xfrm>
          <a:prstGeom prst="star5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01EE839-0798-4EFF-83E9-544B4C623857}" type="datetime1">
              <a:rPr lang="en-US" smtClean="0"/>
              <a:pPr>
                <a:defRPr/>
              </a:pPr>
              <a:t>5/26/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5153617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animBg="1"/>
      <p:bldP spid="5" grpId="0" animBg="1"/>
      <p:bldP spid="10" grpId="0"/>
      <p:bldP spid="1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vent Ripple Effect Tactic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7391400" cy="5029200"/>
          </a:xfrm>
        </p:spPr>
        <p:txBody>
          <a:bodyPr>
            <a:normAutofit fontScale="62500" lnSpcReduction="20000"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dirty="0" smtClean="0"/>
              <a:t>Hide </a:t>
            </a:r>
            <a:r>
              <a:rPr lang="en-US" dirty="0"/>
              <a:t>Information (of A)</a:t>
            </a:r>
            <a:endParaRPr lang="en-US" dirty="0" smtClean="0"/>
          </a:p>
          <a:p>
            <a:pPr marL="914400" lvl="1" indent="-514350"/>
            <a:r>
              <a:rPr lang="en-US" dirty="0" smtClean="0"/>
              <a:t>Use interfaces, allow published API based calls only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Maintain existing Interface (of A)</a:t>
            </a:r>
          </a:p>
          <a:p>
            <a:pPr marL="914400" lvl="1" indent="-514350"/>
            <a:r>
              <a:rPr lang="en-US" dirty="0" smtClean="0"/>
              <a:t>Add new interfaces if needed</a:t>
            </a:r>
          </a:p>
          <a:p>
            <a:pPr marL="914400" lvl="1" indent="-514350"/>
            <a:r>
              <a:rPr lang="en-US" dirty="0" smtClean="0"/>
              <a:t>Use Wrapper, adapter to maintain same interface</a:t>
            </a:r>
          </a:p>
          <a:p>
            <a:pPr marL="914400" lvl="1" indent="-514350"/>
            <a:r>
              <a:rPr lang="en-US" dirty="0" smtClean="0"/>
              <a:t>Use stub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Restrict Communication Paths</a:t>
            </a:r>
          </a:p>
          <a:p>
            <a:pPr marL="914400" lvl="1" indent="-514350"/>
            <a:r>
              <a:rPr lang="en-US" dirty="0" smtClean="0"/>
              <a:t>Too many modules should not depend on A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Use an intermediary between B and A</a:t>
            </a:r>
          </a:p>
          <a:p>
            <a:pPr marL="914400" lvl="1" indent="-514350"/>
            <a:r>
              <a:rPr lang="en-US" dirty="0" smtClean="0"/>
              <a:t>Data </a:t>
            </a:r>
            <a:endParaRPr lang="en-US" dirty="0"/>
          </a:p>
          <a:p>
            <a:pPr marL="1314450" lvl="2" indent="-514350"/>
            <a:r>
              <a:rPr lang="en-US" dirty="0" smtClean="0"/>
              <a:t>Repository from which B can read data created by A (blackboard pattern)</a:t>
            </a:r>
          </a:p>
          <a:p>
            <a:pPr marL="1314450" lvl="2" indent="-514350"/>
            <a:r>
              <a:rPr lang="en-US" dirty="0" smtClean="0"/>
              <a:t>Publish-subscribe (data flowing through a central hub)</a:t>
            </a:r>
          </a:p>
          <a:p>
            <a:pPr marL="1314450" lvl="2" indent="-514350"/>
            <a:r>
              <a:rPr lang="en-US" dirty="0" smtClean="0"/>
              <a:t>MVC pattern</a:t>
            </a:r>
          </a:p>
          <a:p>
            <a:pPr marL="914400" lvl="1" indent="-514350"/>
            <a:r>
              <a:rPr lang="en-US" dirty="0" smtClean="0"/>
              <a:t>Service: Use of design patterns like bridge, mediator, strategy, proxy</a:t>
            </a:r>
          </a:p>
          <a:p>
            <a:pPr marL="914400" lvl="1" indent="-514350"/>
            <a:r>
              <a:rPr lang="en-US" dirty="0" smtClean="0"/>
              <a:t>Identity of A – Use broker pattern which deals with A’s identity</a:t>
            </a:r>
          </a:p>
          <a:p>
            <a:pPr marL="914400" lvl="1" indent="-514350"/>
            <a:r>
              <a:rPr lang="en-US" dirty="0" smtClean="0"/>
              <a:t>Location of A – Use naming service to discover A</a:t>
            </a:r>
          </a:p>
          <a:p>
            <a:pPr marL="914400" lvl="1" indent="-514350"/>
            <a:r>
              <a:rPr lang="en-US" dirty="0" smtClean="0"/>
              <a:t>Existence of A- Use factory pattern</a:t>
            </a:r>
          </a:p>
          <a:p>
            <a:pPr marL="914400" lvl="1" indent="-514350"/>
            <a:endParaRPr lang="en-US" dirty="0" smtClean="0"/>
          </a:p>
          <a:p>
            <a:pPr marL="1314450" lvl="2" indent="-514350"/>
            <a:endParaRPr lang="en-US" dirty="0" smtClean="0"/>
          </a:p>
          <a:p>
            <a:pPr marL="914400" lvl="1" indent="-514350"/>
            <a:endParaRPr lang="en-US" dirty="0" smtClean="0"/>
          </a:p>
          <a:p>
            <a:pPr marL="914400" lvl="1" indent="-514350"/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7696200" y="2286000"/>
            <a:ext cx="1143000" cy="76200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Module B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7696199" y="4191000"/>
            <a:ext cx="1143000" cy="76200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Module A</a:t>
            </a:r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6" name="Elbow Connector 5"/>
          <p:cNvCxnSpPr>
            <a:stCxn id="4" idx="2"/>
            <a:endCxn id="10" idx="0"/>
          </p:cNvCxnSpPr>
          <p:nvPr/>
        </p:nvCxnSpPr>
        <p:spPr>
          <a:xfrm rot="16200000" flipH="1">
            <a:off x="7734300" y="3581399"/>
            <a:ext cx="1066801" cy="1"/>
          </a:xfrm>
          <a:prstGeom prst="bentConnector3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8229601" y="3200400"/>
            <a:ext cx="9144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Calls/</a:t>
            </a:r>
          </a:p>
          <a:p>
            <a:r>
              <a:rPr lang="en-US" sz="1400" dirty="0"/>
              <a:t>D</a:t>
            </a:r>
            <a:r>
              <a:rPr lang="en-US" sz="1400" dirty="0" smtClean="0"/>
              <a:t>epends on/</a:t>
            </a:r>
          </a:p>
          <a:p>
            <a:r>
              <a:rPr lang="en-US" sz="1400" dirty="0" smtClean="0"/>
              <a:t>Uses</a:t>
            </a:r>
            <a:endParaRPr lang="en-US" sz="1400" dirty="0"/>
          </a:p>
        </p:txBody>
      </p:sp>
      <p:sp>
        <p:nvSpPr>
          <p:cNvPr id="8" name="5-Point Star 7"/>
          <p:cNvSpPr/>
          <p:nvPr/>
        </p:nvSpPr>
        <p:spPr>
          <a:xfrm>
            <a:off x="8267700" y="4724400"/>
            <a:ext cx="647699" cy="533400"/>
          </a:xfrm>
          <a:prstGeom prst="star5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/>
          <p:cNvSpPr/>
          <p:nvPr/>
        </p:nvSpPr>
        <p:spPr>
          <a:xfrm>
            <a:off x="8153401" y="4114801"/>
            <a:ext cx="228600" cy="152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ABCE2D9-55A9-445C-88CF-558FD9ACAA1A}" type="datetime1">
              <a:rPr lang="en-US" smtClean="0"/>
              <a:pPr>
                <a:defRPr/>
              </a:pPr>
              <a:t>5/26/15</a:t>
            </a:fld>
            <a:endParaRPr lang="en-US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4337165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animBg="1"/>
      <p:bldP spid="5" grpId="0" animBg="1"/>
      <p:bldP spid="7" grpId="0"/>
      <p:bldP spid="8" grpId="0" animBg="1"/>
      <p:bldP spid="1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fer Binding Tim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sz="2800" dirty="0" smtClean="0"/>
              <a:t>Runtime registration of A (plug n play)</a:t>
            </a:r>
          </a:p>
          <a:p>
            <a:pPr marL="914400" lvl="1" indent="-514350"/>
            <a:r>
              <a:rPr lang="en-US" sz="2400" dirty="0" smtClean="0"/>
              <a:t>Use of pub-sub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800" dirty="0" smtClean="0"/>
              <a:t>Configuration Files</a:t>
            </a:r>
          </a:p>
          <a:p>
            <a:pPr marL="914400" lvl="1" indent="-514350"/>
            <a:r>
              <a:rPr lang="en-US" sz="2400" dirty="0" smtClean="0"/>
              <a:t>To take decisions during startup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800" dirty="0" smtClean="0"/>
              <a:t>Polymorphism </a:t>
            </a:r>
          </a:p>
          <a:p>
            <a:pPr marL="914400" lvl="1" indent="-514350"/>
            <a:r>
              <a:rPr lang="en-US" sz="2400" dirty="0" smtClean="0"/>
              <a:t>Late binding of method call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800" dirty="0" smtClean="0"/>
              <a:t>Component Replacement (for A)</a:t>
            </a:r>
          </a:p>
          <a:p>
            <a:pPr marL="914400" lvl="1" indent="-514350"/>
            <a:r>
              <a:rPr lang="en-US" sz="2400" dirty="0" smtClean="0"/>
              <a:t>during load time such as </a:t>
            </a:r>
            <a:r>
              <a:rPr lang="en-US" sz="2400" dirty="0" err="1" smtClean="0"/>
              <a:t>classloader</a:t>
            </a:r>
            <a:endParaRPr lang="en-US" sz="2400" dirty="0" smtClean="0"/>
          </a:p>
          <a:p>
            <a:pPr marL="514350" indent="-514350">
              <a:buFont typeface="+mj-lt"/>
              <a:buAutoNum type="arabicPeriod"/>
            </a:pPr>
            <a:r>
              <a:rPr lang="en-US" sz="2800" dirty="0" smtClean="0"/>
              <a:t>Adherence to a defined protocol- runtime binding of independent processes</a:t>
            </a:r>
          </a:p>
          <a:p>
            <a:pPr marL="514350" indent="-514350">
              <a:buFont typeface="+mj-lt"/>
              <a:buAutoNum type="arabicPeriod"/>
            </a:pPr>
            <a:endParaRPr lang="en-US" sz="2800" dirty="0"/>
          </a:p>
        </p:txBody>
      </p:sp>
      <p:sp>
        <p:nvSpPr>
          <p:cNvPr id="4" name="Rounded Rectangle 3"/>
          <p:cNvSpPr/>
          <p:nvPr/>
        </p:nvSpPr>
        <p:spPr>
          <a:xfrm>
            <a:off x="7696200" y="2286000"/>
            <a:ext cx="1143000" cy="76200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Module B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7696199" y="4191000"/>
            <a:ext cx="1143000" cy="762000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Module A</a:t>
            </a:r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6" name="Elbow Connector 5"/>
          <p:cNvCxnSpPr>
            <a:stCxn id="4" idx="2"/>
            <a:endCxn id="9" idx="0"/>
          </p:cNvCxnSpPr>
          <p:nvPr/>
        </p:nvCxnSpPr>
        <p:spPr>
          <a:xfrm rot="16200000" flipH="1">
            <a:off x="7734300" y="3581399"/>
            <a:ext cx="1066801" cy="1"/>
          </a:xfrm>
          <a:prstGeom prst="bentConnector3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8229601" y="3200400"/>
            <a:ext cx="9144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Calls/</a:t>
            </a:r>
          </a:p>
          <a:p>
            <a:r>
              <a:rPr lang="en-US" sz="1400" dirty="0"/>
              <a:t>D</a:t>
            </a:r>
            <a:r>
              <a:rPr lang="en-US" sz="1400" dirty="0" smtClean="0"/>
              <a:t>epends on/</a:t>
            </a:r>
          </a:p>
          <a:p>
            <a:r>
              <a:rPr lang="en-US" sz="1400" dirty="0" smtClean="0"/>
              <a:t>Uses</a:t>
            </a:r>
            <a:endParaRPr lang="en-US" sz="1400" dirty="0"/>
          </a:p>
        </p:txBody>
      </p:sp>
      <p:sp>
        <p:nvSpPr>
          <p:cNvPr id="8" name="5-Point Star 7"/>
          <p:cNvSpPr/>
          <p:nvPr/>
        </p:nvSpPr>
        <p:spPr>
          <a:xfrm>
            <a:off x="8267700" y="4724400"/>
            <a:ext cx="647699" cy="533400"/>
          </a:xfrm>
          <a:prstGeom prst="star5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/>
          <p:cNvSpPr/>
          <p:nvPr/>
        </p:nvSpPr>
        <p:spPr>
          <a:xfrm>
            <a:off x="8153401" y="4114801"/>
            <a:ext cx="228600" cy="152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D693B94-0032-46FA-AC44-B0057F16004E}" type="datetime1">
              <a:rPr lang="en-US" smtClean="0"/>
              <a:pPr>
                <a:defRPr/>
              </a:pPr>
              <a:t>5/26/15</a:t>
            </a:fld>
            <a:endParaRPr lang="en-US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6708400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animBg="1"/>
      <p:bldP spid="5" grpId="0" animBg="1"/>
      <p:bldP spid="7" grpId="0"/>
      <p:bldP spid="8" grpId="0" animBg="1"/>
      <p:bldP spid="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Checklist- Modifiabil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19200"/>
            <a:ext cx="8382000" cy="5029200"/>
          </a:xfrm>
        </p:spPr>
        <p:txBody>
          <a:bodyPr/>
          <a:lstStyle/>
          <a:p>
            <a:r>
              <a:rPr lang="en-US" sz="2800" dirty="0" smtClean="0"/>
              <a:t>Allocation of Responsibilities</a:t>
            </a:r>
          </a:p>
          <a:p>
            <a:pPr lvl="1"/>
            <a:r>
              <a:rPr lang="en-US" sz="2000" dirty="0" smtClean="0"/>
              <a:t>Determine the types of changes that can come due to technical, customer or business</a:t>
            </a:r>
          </a:p>
          <a:p>
            <a:pPr lvl="1"/>
            <a:r>
              <a:rPr lang="en-US" sz="2000" dirty="0" smtClean="0"/>
              <a:t>Determine what sort of additional features are required to handle the change</a:t>
            </a:r>
          </a:p>
          <a:p>
            <a:pPr lvl="1"/>
            <a:r>
              <a:rPr lang="en-US" sz="2000" dirty="0" smtClean="0"/>
              <a:t>Determine which existing features are impacted by the change</a:t>
            </a:r>
          </a:p>
          <a:p>
            <a:r>
              <a:rPr lang="en-US" sz="2800" dirty="0" smtClean="0"/>
              <a:t>Coordination Model</a:t>
            </a:r>
          </a:p>
          <a:p>
            <a:pPr lvl="1"/>
            <a:r>
              <a:rPr lang="en-US" sz="2000" dirty="0" smtClean="0"/>
              <a:t>For those where modifiability is a concern, use techniques to reduce coupling </a:t>
            </a:r>
          </a:p>
          <a:p>
            <a:pPr lvl="2"/>
            <a:r>
              <a:rPr lang="en-US" sz="1800" dirty="0" smtClean="0"/>
              <a:t>Use publish-subscribe, use enterprise service bus</a:t>
            </a:r>
          </a:p>
          <a:p>
            <a:pPr lvl="1"/>
            <a:r>
              <a:rPr lang="en-US" sz="2000" dirty="0" smtClean="0"/>
              <a:t>Identify </a:t>
            </a:r>
          </a:p>
          <a:p>
            <a:pPr lvl="2"/>
            <a:r>
              <a:rPr lang="en-US" sz="1800" dirty="0" smtClean="0"/>
              <a:t>which features can change at runtime</a:t>
            </a:r>
          </a:p>
          <a:p>
            <a:pPr lvl="2"/>
            <a:r>
              <a:rPr lang="en-US" sz="1800" dirty="0" smtClean="0"/>
              <a:t>which devices, communication paths or protocols can change at runtime </a:t>
            </a:r>
          </a:p>
          <a:p>
            <a:pPr lvl="1"/>
            <a:r>
              <a:rPr lang="en-US" sz="2000" dirty="0" smtClean="0"/>
              <a:t>And make sure that such changes have limited impact on the system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1CAD9AB-5CA1-4FAC-9D1E-A3369B289022}" type="datetime1">
              <a:rPr lang="en-US" smtClean="0"/>
              <a:pPr>
                <a:defRPr/>
              </a:pPr>
              <a:t>5/2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2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0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89</TotalTime>
  <Words>1070</Words>
  <Application>Microsoft Macintosh PowerPoint</Application>
  <PresentationFormat>On-screen Show (4:3)</PresentationFormat>
  <Paragraphs>220</Paragraphs>
  <Slides>11</Slides>
  <Notes>2</Notes>
  <HiddenSlides>0</HiddenSlides>
  <MMClips>0</MMClips>
  <ScaleCrop>false</ScaleCrop>
  <HeadingPairs>
    <vt:vector size="6" baseType="variant">
      <vt:variant>
        <vt:lpstr>Design Templat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Office Theme</vt:lpstr>
      <vt:lpstr>think-cell Slide</vt:lpstr>
      <vt:lpstr>SS ZG653 (RL 5.1): Software Architecture Modifiability and Its Tactics</vt:lpstr>
      <vt:lpstr>Modifiability</vt:lpstr>
      <vt:lpstr>Modifiability Scenarios</vt:lpstr>
      <vt:lpstr>Modifiability Tactics</vt:lpstr>
      <vt:lpstr>Dependency between two modules (B A)</vt:lpstr>
      <vt:lpstr>Localize Modifications</vt:lpstr>
      <vt:lpstr>Prevent Ripple Effect Tactics</vt:lpstr>
      <vt:lpstr>Defer Binding Time</vt:lpstr>
      <vt:lpstr>Design Checklist- Modifiability</vt:lpstr>
      <vt:lpstr>Design checklist- Modifiability</vt:lpstr>
      <vt:lpstr>Design Checklist- Modifiability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antonu sarkar</cp:lastModifiedBy>
  <cp:revision>696</cp:revision>
  <dcterms:created xsi:type="dcterms:W3CDTF">2015-05-26T08:32:25Z</dcterms:created>
  <dcterms:modified xsi:type="dcterms:W3CDTF">2015-05-26T08:42:17Z</dcterms:modified>
</cp:coreProperties>
</file>